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5475" r:id="rId4"/>
  </p:sldMasterIdLst>
  <p:notesMasterIdLst>
    <p:notesMasterId r:id="rId51"/>
  </p:notesMasterIdLst>
  <p:handoutMasterIdLst>
    <p:handoutMasterId r:id="rId52"/>
  </p:handoutMasterIdLst>
  <p:sldIdLst>
    <p:sldId id="533" r:id="rId5"/>
    <p:sldId id="598" r:id="rId6"/>
    <p:sldId id="830" r:id="rId7"/>
    <p:sldId id="835" r:id="rId8"/>
    <p:sldId id="599" r:id="rId9"/>
    <p:sldId id="832" r:id="rId10"/>
    <p:sldId id="833" r:id="rId11"/>
    <p:sldId id="834" r:id="rId12"/>
    <p:sldId id="794" r:id="rId13"/>
    <p:sldId id="801" r:id="rId14"/>
    <p:sldId id="796" r:id="rId15"/>
    <p:sldId id="795" r:id="rId16"/>
    <p:sldId id="817" r:id="rId17"/>
    <p:sldId id="839" r:id="rId18"/>
    <p:sldId id="818" r:id="rId19"/>
    <p:sldId id="840" r:id="rId20"/>
    <p:sldId id="802" r:id="rId21"/>
    <p:sldId id="803" r:id="rId22"/>
    <p:sldId id="828" r:id="rId23"/>
    <p:sldId id="805" r:id="rId24"/>
    <p:sldId id="806" r:id="rId25"/>
    <p:sldId id="807" r:id="rId26"/>
    <p:sldId id="808" r:id="rId27"/>
    <p:sldId id="810" r:id="rId28"/>
    <p:sldId id="811" r:id="rId29"/>
    <p:sldId id="812" r:id="rId30"/>
    <p:sldId id="820" r:id="rId31"/>
    <p:sldId id="819" r:id="rId32"/>
    <p:sldId id="813" r:id="rId33"/>
    <p:sldId id="821" r:id="rId34"/>
    <p:sldId id="822" r:id="rId35"/>
    <p:sldId id="815" r:id="rId36"/>
    <p:sldId id="814" r:id="rId37"/>
    <p:sldId id="825" r:id="rId38"/>
    <p:sldId id="841" r:id="rId39"/>
    <p:sldId id="842" r:id="rId40"/>
    <p:sldId id="843" r:id="rId41"/>
    <p:sldId id="844" r:id="rId42"/>
    <p:sldId id="826" r:id="rId43"/>
    <p:sldId id="816" r:id="rId44"/>
    <p:sldId id="845" r:id="rId45"/>
    <p:sldId id="836" r:id="rId46"/>
    <p:sldId id="837" r:id="rId47"/>
    <p:sldId id="838" r:id="rId48"/>
    <p:sldId id="800" r:id="rId49"/>
    <p:sldId id="831" r:id="rId50"/>
  </p:sldIdLst>
  <p:sldSz cx="12192000" cy="6858000"/>
  <p:notesSz cx="9926638" cy="6797675"/>
  <p:custDataLst>
    <p:tags r:id="rId5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CABB810-49A9-184E-D709-5686371A7706}" name="Sarabjit Singh Chadha" initials="SSC" userId="S::Sarabjit.Chadha@finddx.org::a7e2896c-c10b-4d5a-a518-22b7063b46fa" providerId="AD"/>
  <p188:author id="{12682632-A016-E4B1-8DFD-2D029988CF30}" name="Sikha Panda" initials="SP" userId="S::Sikha.Panda@finddx.org::8ffbd656-6f06-482d-84fc-dc7162f905cc" providerId="AD"/>
  <p188:author id="{538C253F-5209-0BF5-4DBE-7C874D562797}" name="Shubhada Shenai" initials="SS" userId="S::Shubhada.Shenai@finddx.org::9076908a-6e99-4edd-80de-1f7b5187c2d4" providerId="AD"/>
  <p188:author id="{AB5A2EB2-9B8B-EC45-695E-40A4F5FCB783}" name="Pooja Srivastava" initials="PS" userId="S::Pooja.Srivastava@finddx.org::cef25191-5c21-41d5-bd8b-3c30417c0004" providerId="AD"/>
  <p188:author id="{666037CE-2BC8-103B-9115-CB3CADCBDE30}" name="Tarak GShah" initials="TG" userId="S::Tarak.GShah@finddx.org::0efee70e-6e36-46a2-be46-607be09e541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uihaume, Tiphaine" initials="GT" lastIdx="1" clrIdx="0">
    <p:extLst>
      <p:ext uri="{19B8F6BF-5375-455C-9EA6-DF929625EA0E}">
        <p15:presenceInfo xmlns:p15="http://schemas.microsoft.com/office/powerpoint/2012/main" userId="Guihaume, Tiphaine" providerId="None"/>
      </p:ext>
    </p:extLst>
  </p:cmAuthor>
  <p:cmAuthor id="2" name="Morten Ruhwald" initials="MR" lastIdx="2" clrIdx="1">
    <p:extLst>
      <p:ext uri="{19B8F6BF-5375-455C-9EA6-DF929625EA0E}">
        <p15:presenceInfo xmlns:p15="http://schemas.microsoft.com/office/powerpoint/2012/main" userId="Morten Ruhwald" providerId="None"/>
      </p:ext>
    </p:extLst>
  </p:cmAuthor>
  <p:cmAuthor id="3" name="Sarah Nogaro" initials="SN" lastIdx="31" clrIdx="2">
    <p:extLst>
      <p:ext uri="{19B8F6BF-5375-455C-9EA6-DF929625EA0E}">
        <p15:presenceInfo xmlns:p15="http://schemas.microsoft.com/office/powerpoint/2012/main" userId="S::Sarah.Nogaro@finddx.org::cad2f3ff-81c2-49d3-9bee-4c5d604850df" providerId="AD"/>
      </p:ext>
    </p:extLst>
  </p:cmAuthor>
  <p:cmAuthor id="4" name="Dziedzom Komi DE SOUZA" initials="DKDS" lastIdx="5" clrIdx="3">
    <p:extLst>
      <p:ext uri="{19B8F6BF-5375-455C-9EA6-DF929625EA0E}">
        <p15:presenceInfo xmlns:p15="http://schemas.microsoft.com/office/powerpoint/2012/main" userId="S::DziedzomKomi.DESOUZA@Finddx.org::7ac39cd6-5acb-435a-9f04-fb1043c5a2a2" providerId="AD"/>
      </p:ext>
    </p:extLst>
  </p:cmAuthor>
  <p:cmAuthor id="5" name="Tatiana Letsko" initials="TL" lastIdx="1" clrIdx="4">
    <p:extLst>
      <p:ext uri="{19B8F6BF-5375-455C-9EA6-DF929625EA0E}">
        <p15:presenceInfo xmlns:p15="http://schemas.microsoft.com/office/powerpoint/2012/main" userId="S::Tatiana.Letsko@Finddx.org::a6cb2b95-6f96-4c98-bbb5-ef102aa349fb" providerId="AD"/>
      </p:ext>
    </p:extLst>
  </p:cmAuthor>
  <p:cmAuthor id="6" name="Sylvain Bieler" initials="SB" lastIdx="3" clrIdx="5">
    <p:extLst>
      <p:ext uri="{19B8F6BF-5375-455C-9EA6-DF929625EA0E}">
        <p15:presenceInfo xmlns:p15="http://schemas.microsoft.com/office/powerpoint/2012/main" userId="S::Sylvain.Bieler@finddx.org::a37712c3-e8a0-4e16-8c22-5fd8fb779163" providerId="AD"/>
      </p:ext>
    </p:extLst>
  </p:cmAuthor>
  <p:cmAuthor id="7" name="Albert Picado De Puig" initials="APDP" lastIdx="3" clrIdx="6">
    <p:extLst>
      <p:ext uri="{19B8F6BF-5375-455C-9EA6-DF929625EA0E}">
        <p15:presenceInfo xmlns:p15="http://schemas.microsoft.com/office/powerpoint/2012/main" userId="S-1-5-21-758399636-2987204155-3505288178-4660" providerId="AD"/>
      </p:ext>
    </p:extLst>
  </p:cmAuthor>
  <p:cmAuthor id="8" name="Maël Redard" initials="MR" lastIdx="1" clrIdx="7">
    <p:extLst>
      <p:ext uri="{19B8F6BF-5375-455C-9EA6-DF929625EA0E}">
        <p15:presenceInfo xmlns:p15="http://schemas.microsoft.com/office/powerpoint/2012/main" userId="S::Mael.Redard@finddx.org::c2364de1-a1f0-490d-8ae0-9c9d5b5f0ba6" providerId="AD"/>
      </p:ext>
    </p:extLst>
  </p:cmAuthor>
  <p:cmAuthor id="9" name="Albert" initials="A" lastIdx="3" clrIdx="8">
    <p:extLst>
      <p:ext uri="{19B8F6BF-5375-455C-9EA6-DF929625EA0E}">
        <p15:presenceInfo xmlns:p15="http://schemas.microsoft.com/office/powerpoint/2012/main" userId="Albert" providerId="None"/>
      </p:ext>
    </p:extLst>
  </p:cmAuthor>
  <p:cmAuthor id="10" name="Joseph Ndungu" initials="JN" lastIdx="5" clrIdx="9">
    <p:extLst>
      <p:ext uri="{19B8F6BF-5375-455C-9EA6-DF929625EA0E}">
        <p15:presenceInfo xmlns:p15="http://schemas.microsoft.com/office/powerpoint/2012/main" userId="S::Joseph.Ndungu@finddx.org::ca0ea31a-dc60-4871-a047-a769c4ef740e" providerId="AD"/>
      </p:ext>
    </p:extLst>
  </p:cmAuthor>
  <p:cmAuthor id="11" name="PORE, Meenal" initials="PM" lastIdx="4" clrIdx="10">
    <p:extLst>
      <p:ext uri="{19B8F6BF-5375-455C-9EA6-DF929625EA0E}">
        <p15:presenceInfo xmlns:p15="http://schemas.microsoft.com/office/powerpoint/2012/main" userId="PORE, Meenal" providerId="None"/>
      </p:ext>
    </p:extLst>
  </p:cmAuthor>
  <p:cmAuthor id="12" name="Sarah-Jane Loveday" initials="SJL" lastIdx="13" clrIdx="11">
    <p:extLst>
      <p:ext uri="{19B8F6BF-5375-455C-9EA6-DF929625EA0E}">
        <p15:presenceInfo xmlns:p15="http://schemas.microsoft.com/office/powerpoint/2012/main" userId="S::Sarah-Jane.Loveday@finddx.org::38f1dcbf-72cf-4a61-820e-24f00c15d838" providerId="AD"/>
      </p:ext>
    </p:extLst>
  </p:cmAuthor>
  <p:cmAuthor id="13" name="Shubhada Shenai" initials="SS" lastIdx="1" clrIdx="12">
    <p:extLst>
      <p:ext uri="{19B8F6BF-5375-455C-9EA6-DF929625EA0E}">
        <p15:presenceInfo xmlns:p15="http://schemas.microsoft.com/office/powerpoint/2012/main" userId="S::Shubhada.Shenai@finddx.org::9076908a-6e99-4edd-80de-1f7b5187c2d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FF00"/>
    <a:srgbClr val="6AC534"/>
    <a:srgbClr val="F2F2F2"/>
    <a:srgbClr val="F79646"/>
    <a:srgbClr val="43ABB6"/>
    <a:srgbClr val="E93F47"/>
    <a:srgbClr val="955895"/>
    <a:srgbClr val="FFC000"/>
    <a:srgbClr val="00B0F0"/>
    <a:srgbClr val="FFC00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403E6E4-217E-4D1D-84DA-1027F155F5EF}" v="3" dt="2023-11-28T02:44:25.71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121" autoAdjust="0"/>
    <p:restoredTop sz="93522" autoAdjust="0"/>
  </p:normalViewPr>
  <p:slideViewPr>
    <p:cSldViewPr snapToGrid="0">
      <p:cViewPr varScale="1">
        <p:scale>
          <a:sx n="59" d="100"/>
          <a:sy n="59" d="100"/>
        </p:scale>
        <p:origin x="1072" y="6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399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>
      <p:cViewPr varScale="1">
        <p:scale>
          <a:sx n="112" d="100"/>
          <a:sy n="112" d="100"/>
        </p:scale>
        <p:origin x="2142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presProps" Target="pres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tags" Target="tags/tag1.xml"/><Relationship Id="rId58" Type="http://schemas.openxmlformats.org/officeDocument/2006/relationships/tableStyles" Target="tableStyles.xml"/><Relationship Id="rId5" Type="http://schemas.openxmlformats.org/officeDocument/2006/relationships/slide" Target="slides/slide1.xml"/><Relationship Id="rId61" Type="http://schemas.microsoft.com/office/2018/10/relationships/authors" Target="authors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viewProps" Target="viewProps.xml"/><Relationship Id="rId8" Type="http://schemas.openxmlformats.org/officeDocument/2006/relationships/slide" Target="slides/slide4.xml"/><Relationship Id="rId51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microsoft.com/office/2016/11/relationships/changesInfo" Target="changesInfos/changesInfo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theme" Target="theme/theme1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handoutMaster" Target="handoutMasters/handoutMaster1.xml"/><Relationship Id="rId60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arak GShah" userId="0efee70e-6e36-46a2-be46-607be09e5417" providerId="ADAL" clId="{10C7D04A-541E-4846-83F6-F3077DB1B76A}"/>
    <pc:docChg chg="custSel modSld">
      <pc:chgData name="Tarak GShah" userId="0efee70e-6e36-46a2-be46-607be09e5417" providerId="ADAL" clId="{10C7D04A-541E-4846-83F6-F3077DB1B76A}" dt="2023-04-02T06:14:14.563" v="432" actId="6549"/>
      <pc:docMkLst>
        <pc:docMk/>
      </pc:docMkLst>
      <pc:sldChg chg="modSp mod">
        <pc:chgData name="Tarak GShah" userId="0efee70e-6e36-46a2-be46-607be09e5417" providerId="ADAL" clId="{10C7D04A-541E-4846-83F6-F3077DB1B76A}" dt="2023-04-02T04:56:08.614" v="2" actId="207"/>
        <pc:sldMkLst>
          <pc:docMk/>
          <pc:sldMk cId="2460605069" sldId="578"/>
        </pc:sldMkLst>
        <pc:spChg chg="mod">
          <ac:chgData name="Tarak GShah" userId="0efee70e-6e36-46a2-be46-607be09e5417" providerId="ADAL" clId="{10C7D04A-541E-4846-83F6-F3077DB1B76A}" dt="2023-04-02T04:55:55.007" v="1" actId="20577"/>
          <ac:spMkLst>
            <pc:docMk/>
            <pc:sldMk cId="2460605069" sldId="578"/>
            <ac:spMk id="11" creationId="{84FB455C-18BD-76F3-6AF1-90859F2EAC08}"/>
          </ac:spMkLst>
        </pc:spChg>
        <pc:spChg chg="mod">
          <ac:chgData name="Tarak GShah" userId="0efee70e-6e36-46a2-be46-607be09e5417" providerId="ADAL" clId="{10C7D04A-541E-4846-83F6-F3077DB1B76A}" dt="2023-04-02T04:56:08.614" v="2" actId="207"/>
          <ac:spMkLst>
            <pc:docMk/>
            <pc:sldMk cId="2460605069" sldId="578"/>
            <ac:spMk id="12" creationId="{AEDC11DF-F9E5-E54C-95B5-AB589328332B}"/>
          </ac:spMkLst>
        </pc:spChg>
      </pc:sldChg>
      <pc:sldChg chg="delSp modSp mod delCm">
        <pc:chgData name="Tarak GShah" userId="0efee70e-6e36-46a2-be46-607be09e5417" providerId="ADAL" clId="{10C7D04A-541E-4846-83F6-F3077DB1B76A}" dt="2023-04-02T04:58:24.595" v="115" actId="20577"/>
        <pc:sldMkLst>
          <pc:docMk/>
          <pc:sldMk cId="1823508212" sldId="580"/>
        </pc:sldMkLst>
        <pc:spChg chg="del mod">
          <ac:chgData name="Tarak GShah" userId="0efee70e-6e36-46a2-be46-607be09e5417" providerId="ADAL" clId="{10C7D04A-541E-4846-83F6-F3077DB1B76A}" dt="2023-04-02T04:57:32.927" v="57" actId="478"/>
          <ac:spMkLst>
            <pc:docMk/>
            <pc:sldMk cId="1823508212" sldId="580"/>
            <ac:spMk id="8" creationId="{38FA931A-F768-0EAE-3D93-0A5DF8AD3311}"/>
          </ac:spMkLst>
        </pc:spChg>
        <pc:spChg chg="mod">
          <ac:chgData name="Tarak GShah" userId="0efee70e-6e36-46a2-be46-607be09e5417" providerId="ADAL" clId="{10C7D04A-541E-4846-83F6-F3077DB1B76A}" dt="2023-04-02T04:58:24.595" v="115" actId="20577"/>
          <ac:spMkLst>
            <pc:docMk/>
            <pc:sldMk cId="1823508212" sldId="580"/>
            <ac:spMk id="9" creationId="{3F7C2933-D473-BB9F-22D3-14D2D64EE96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Tarak GShah" userId="0efee70e-6e36-46a2-be46-607be09e5417" providerId="ADAL" clId="{10C7D04A-541E-4846-83F6-F3077DB1B76A}" dt="2023-04-02T04:56:40.362" v="3"/>
              <pc2:cmMkLst xmlns:pc2="http://schemas.microsoft.com/office/powerpoint/2019/9/main/command">
                <pc:docMk/>
                <pc:sldMk cId="1823508212" sldId="580"/>
                <pc2:cmMk id="{8994BA18-9BE9-447D-AE93-A71BA7519CDC}"/>
              </pc2:cmMkLst>
            </pc226:cmChg>
          </p:ext>
        </pc:extLst>
      </pc:sldChg>
      <pc:sldChg chg="modSp mod delCm modCm">
        <pc:chgData name="Tarak GShah" userId="0efee70e-6e36-46a2-be46-607be09e5417" providerId="ADAL" clId="{10C7D04A-541E-4846-83F6-F3077DB1B76A}" dt="2023-04-02T06:08:46.641" v="365" actId="207"/>
        <pc:sldMkLst>
          <pc:docMk/>
          <pc:sldMk cId="2728746143" sldId="581"/>
        </pc:sldMkLst>
        <pc:spChg chg="mod">
          <ac:chgData name="Tarak GShah" userId="0efee70e-6e36-46a2-be46-607be09e5417" providerId="ADAL" clId="{10C7D04A-541E-4846-83F6-F3077DB1B76A}" dt="2023-04-02T06:08:46.641" v="365" actId="207"/>
          <ac:spMkLst>
            <pc:docMk/>
            <pc:sldMk cId="2728746143" sldId="581"/>
            <ac:spMk id="13" creationId="{557CFBB7-5809-BAB8-EC0F-DA961DCBAA7A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Tarak GShah" userId="0efee70e-6e36-46a2-be46-607be09e5417" providerId="ADAL" clId="{10C7D04A-541E-4846-83F6-F3077DB1B76A}" dt="2023-04-02T05:20:54.228" v="199"/>
              <pc2:cmMkLst xmlns:pc2="http://schemas.microsoft.com/office/powerpoint/2019/9/main/command">
                <pc:docMk/>
                <pc:sldMk cId="2728746143" sldId="581"/>
                <pc2:cmMk id="{AC32A4C0-D9CE-46B7-AEE2-1D09F4F215D2}"/>
              </pc2:cmMkLst>
            </pc226:cmChg>
          </p:ext>
        </pc:extLst>
      </pc:sldChg>
      <pc:sldChg chg="delCm">
        <pc:chgData name="Tarak GShah" userId="0efee70e-6e36-46a2-be46-607be09e5417" providerId="ADAL" clId="{10C7D04A-541E-4846-83F6-F3077DB1B76A}" dt="2023-04-02T05:20:38.340" v="198"/>
        <pc:sldMkLst>
          <pc:docMk/>
          <pc:sldMk cId="2161058332" sldId="594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Tarak GShah" userId="0efee70e-6e36-46a2-be46-607be09e5417" providerId="ADAL" clId="{10C7D04A-541E-4846-83F6-F3077DB1B76A}" dt="2023-04-02T05:20:38.340" v="198"/>
              <pc2:cmMkLst xmlns:pc2="http://schemas.microsoft.com/office/powerpoint/2019/9/main/command">
                <pc:docMk/>
                <pc:sldMk cId="2161058332" sldId="594"/>
                <pc2:cmMk id="{54CF5E93-DE69-43EE-8BF1-6D613B00FD9C}"/>
              </pc2:cmMkLst>
            </pc226:cmChg>
          </p:ext>
        </pc:extLst>
      </pc:sldChg>
      <pc:sldChg chg="modSp mod">
        <pc:chgData name="Tarak GShah" userId="0efee70e-6e36-46a2-be46-607be09e5417" providerId="ADAL" clId="{10C7D04A-541E-4846-83F6-F3077DB1B76A}" dt="2023-04-02T06:14:14.563" v="432" actId="6549"/>
        <pc:sldMkLst>
          <pc:docMk/>
          <pc:sldMk cId="2191905533" sldId="598"/>
        </pc:sldMkLst>
        <pc:spChg chg="mod">
          <ac:chgData name="Tarak GShah" userId="0efee70e-6e36-46a2-be46-607be09e5417" providerId="ADAL" clId="{10C7D04A-541E-4846-83F6-F3077DB1B76A}" dt="2023-04-02T06:14:14.563" v="432" actId="6549"/>
          <ac:spMkLst>
            <pc:docMk/>
            <pc:sldMk cId="2191905533" sldId="598"/>
            <ac:spMk id="8" creationId="{3BE649DC-9B03-71ED-94EC-1498707847DF}"/>
          </ac:spMkLst>
        </pc:spChg>
      </pc:sldChg>
      <pc:sldChg chg="modSp mod delCm">
        <pc:chgData name="Tarak GShah" userId="0efee70e-6e36-46a2-be46-607be09e5417" providerId="ADAL" clId="{10C7D04A-541E-4846-83F6-F3077DB1B76A}" dt="2023-04-02T06:00:53.420" v="364" actId="20577"/>
        <pc:sldMkLst>
          <pc:docMk/>
          <pc:sldMk cId="4228860485" sldId="2145706480"/>
        </pc:sldMkLst>
        <pc:spChg chg="mod">
          <ac:chgData name="Tarak GShah" userId="0efee70e-6e36-46a2-be46-607be09e5417" providerId="ADAL" clId="{10C7D04A-541E-4846-83F6-F3077DB1B76A}" dt="2023-04-02T06:00:53.420" v="364" actId="20577"/>
          <ac:spMkLst>
            <pc:docMk/>
            <pc:sldMk cId="4228860485" sldId="2145706480"/>
            <ac:spMk id="6" creationId="{37706877-1123-54F0-4CE3-0FFA726A460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Tarak GShah" userId="0efee70e-6e36-46a2-be46-607be09e5417" providerId="ADAL" clId="{10C7D04A-541E-4846-83F6-F3077DB1B76A}" dt="2023-04-02T05:50:03.016" v="286"/>
              <pc2:cmMkLst xmlns:pc2="http://schemas.microsoft.com/office/powerpoint/2019/9/main/command">
                <pc:docMk/>
                <pc:sldMk cId="4228860485" sldId="2145706480"/>
                <pc2:cmMk id="{EAC92BBA-F526-4823-9CB9-840C616D16BF}"/>
              </pc2:cmMkLst>
            </pc226:cmChg>
          </p:ext>
        </pc:extLst>
      </pc:sldChg>
    </pc:docChg>
  </pc:docChgLst>
  <pc:docChgLst>
    <pc:chgData name="Tarak GShah" userId="0efee70e-6e36-46a2-be46-607be09e5417" providerId="ADAL" clId="{891E66A9-FA6D-4D68-8F31-13D35EAB431C}"/>
    <pc:docChg chg="undo custSel addSld delSld modSld">
      <pc:chgData name="Tarak GShah" userId="0efee70e-6e36-46a2-be46-607be09e5417" providerId="ADAL" clId="{891E66A9-FA6D-4D68-8F31-13D35EAB431C}" dt="2023-04-03T09:46:10.077" v="671" actId="20577"/>
      <pc:docMkLst>
        <pc:docMk/>
      </pc:docMkLst>
      <pc:sldChg chg="addSp delSp modSp mod">
        <pc:chgData name="Tarak GShah" userId="0efee70e-6e36-46a2-be46-607be09e5417" providerId="ADAL" clId="{891E66A9-FA6D-4D68-8F31-13D35EAB431C}" dt="2023-04-03T07:59:41.761" v="654" actId="14100"/>
        <pc:sldMkLst>
          <pc:docMk/>
          <pc:sldMk cId="3586176318" sldId="533"/>
        </pc:sldMkLst>
        <pc:spChg chg="mod">
          <ac:chgData name="Tarak GShah" userId="0efee70e-6e36-46a2-be46-607be09e5417" providerId="ADAL" clId="{891E66A9-FA6D-4D68-8F31-13D35EAB431C}" dt="2023-04-03T05:27:45.329" v="0" actId="313"/>
          <ac:spMkLst>
            <pc:docMk/>
            <pc:sldMk cId="3586176318" sldId="533"/>
            <ac:spMk id="4" creationId="{867D699D-9251-A6CD-9B00-4EDD82B4DAC7}"/>
          </ac:spMkLst>
        </pc:spChg>
        <pc:spChg chg="add del mod">
          <ac:chgData name="Tarak GShah" userId="0efee70e-6e36-46a2-be46-607be09e5417" providerId="ADAL" clId="{891E66A9-FA6D-4D68-8F31-13D35EAB431C}" dt="2023-04-03T07:55:48.552" v="644"/>
          <ac:spMkLst>
            <pc:docMk/>
            <pc:sldMk cId="3586176318" sldId="533"/>
            <ac:spMk id="5" creationId="{41CEF3AC-AD84-A3AF-D163-825681F098A1}"/>
          </ac:spMkLst>
        </pc:spChg>
        <pc:picChg chg="add del mod">
          <ac:chgData name="Tarak GShah" userId="0efee70e-6e36-46a2-be46-607be09e5417" providerId="ADAL" clId="{891E66A9-FA6D-4D68-8F31-13D35EAB431C}" dt="2023-04-03T07:55:21.149" v="634"/>
          <ac:picMkLst>
            <pc:docMk/>
            <pc:sldMk cId="3586176318" sldId="533"/>
            <ac:picMk id="7" creationId="{75CA60E3-6B96-D034-2E5B-392BCB77E5CB}"/>
          </ac:picMkLst>
        </pc:picChg>
        <pc:picChg chg="add del mod">
          <ac:chgData name="Tarak GShah" userId="0efee70e-6e36-46a2-be46-607be09e5417" providerId="ADAL" clId="{891E66A9-FA6D-4D68-8F31-13D35EAB431C}" dt="2023-04-03T07:55:48.552" v="644"/>
          <ac:picMkLst>
            <pc:docMk/>
            <pc:sldMk cId="3586176318" sldId="533"/>
            <ac:picMk id="8" creationId="{8F1216D9-0651-F11A-7CCB-06F662F2FCA4}"/>
          </ac:picMkLst>
        </pc:picChg>
        <pc:picChg chg="add mod">
          <ac:chgData name="Tarak GShah" userId="0efee70e-6e36-46a2-be46-607be09e5417" providerId="ADAL" clId="{891E66A9-FA6D-4D68-8F31-13D35EAB431C}" dt="2023-04-03T07:59:41.761" v="654" actId="14100"/>
          <ac:picMkLst>
            <pc:docMk/>
            <pc:sldMk cId="3586176318" sldId="533"/>
            <ac:picMk id="9" creationId="{C4FDD5D9-BB82-DB2A-E77D-3714CBF05270}"/>
          </ac:picMkLst>
        </pc:picChg>
        <pc:picChg chg="del mod">
          <ac:chgData name="Tarak GShah" userId="0efee70e-6e36-46a2-be46-607be09e5417" providerId="ADAL" clId="{891E66A9-FA6D-4D68-8F31-13D35EAB431C}" dt="2023-04-03T07:54:51.033" v="629" actId="478"/>
          <ac:picMkLst>
            <pc:docMk/>
            <pc:sldMk cId="3586176318" sldId="533"/>
            <ac:picMk id="16" creationId="{82613DBF-11D3-0667-A61B-30AFF0FA759E}"/>
          </ac:picMkLst>
        </pc:picChg>
      </pc:sldChg>
      <pc:sldChg chg="modSp mod">
        <pc:chgData name="Tarak GShah" userId="0efee70e-6e36-46a2-be46-607be09e5417" providerId="ADAL" clId="{891E66A9-FA6D-4D68-8F31-13D35EAB431C}" dt="2023-04-03T07:33:36.381" v="602" actId="113"/>
        <pc:sldMkLst>
          <pc:docMk/>
          <pc:sldMk cId="1453580765" sldId="576"/>
        </pc:sldMkLst>
        <pc:spChg chg="mod">
          <ac:chgData name="Tarak GShah" userId="0efee70e-6e36-46a2-be46-607be09e5417" providerId="ADAL" clId="{891E66A9-FA6D-4D68-8F31-13D35EAB431C}" dt="2023-04-03T07:33:36.381" v="602" actId="113"/>
          <ac:spMkLst>
            <pc:docMk/>
            <pc:sldMk cId="1453580765" sldId="576"/>
            <ac:spMk id="6" creationId="{CAED7AB5-E781-F20D-378B-E2217BE7BC90}"/>
          </ac:spMkLst>
        </pc:spChg>
      </pc:sldChg>
      <pc:sldChg chg="modSp mod">
        <pc:chgData name="Tarak GShah" userId="0efee70e-6e36-46a2-be46-607be09e5417" providerId="ADAL" clId="{891E66A9-FA6D-4D68-8F31-13D35EAB431C}" dt="2023-04-03T07:33:52.719" v="615" actId="113"/>
        <pc:sldMkLst>
          <pc:docMk/>
          <pc:sldMk cId="2460605069" sldId="578"/>
        </pc:sldMkLst>
        <pc:spChg chg="mod">
          <ac:chgData name="Tarak GShah" userId="0efee70e-6e36-46a2-be46-607be09e5417" providerId="ADAL" clId="{891E66A9-FA6D-4D68-8F31-13D35EAB431C}" dt="2023-04-03T07:33:52.719" v="615" actId="113"/>
          <ac:spMkLst>
            <pc:docMk/>
            <pc:sldMk cId="2460605069" sldId="578"/>
            <ac:spMk id="9" creationId="{9021ECF3-0CE5-423C-BE4C-E0A54478B169}"/>
          </ac:spMkLst>
        </pc:spChg>
        <pc:spChg chg="mod">
          <ac:chgData name="Tarak GShah" userId="0efee70e-6e36-46a2-be46-607be09e5417" providerId="ADAL" clId="{891E66A9-FA6D-4D68-8F31-13D35EAB431C}" dt="2023-04-03T05:31:15.023" v="61" actId="20577"/>
          <ac:spMkLst>
            <pc:docMk/>
            <pc:sldMk cId="2460605069" sldId="578"/>
            <ac:spMk id="11" creationId="{84FB455C-18BD-76F3-6AF1-90859F2EAC08}"/>
          </ac:spMkLst>
        </pc:spChg>
        <pc:spChg chg="mod">
          <ac:chgData name="Tarak GShah" userId="0efee70e-6e36-46a2-be46-607be09e5417" providerId="ADAL" clId="{891E66A9-FA6D-4D68-8F31-13D35EAB431C}" dt="2023-04-03T05:31:10.111" v="59" actId="20577"/>
          <ac:spMkLst>
            <pc:docMk/>
            <pc:sldMk cId="2460605069" sldId="578"/>
            <ac:spMk id="12" creationId="{AEDC11DF-F9E5-E54C-95B5-AB589328332B}"/>
          </ac:spMkLst>
        </pc:spChg>
      </pc:sldChg>
      <pc:sldChg chg="modSp mod">
        <pc:chgData name="Tarak GShah" userId="0efee70e-6e36-46a2-be46-607be09e5417" providerId="ADAL" clId="{891E66A9-FA6D-4D68-8F31-13D35EAB431C}" dt="2023-04-03T07:33:56.047" v="616" actId="113"/>
        <pc:sldMkLst>
          <pc:docMk/>
          <pc:sldMk cId="1823508212" sldId="580"/>
        </pc:sldMkLst>
        <pc:spChg chg="mod">
          <ac:chgData name="Tarak GShah" userId="0efee70e-6e36-46a2-be46-607be09e5417" providerId="ADAL" clId="{891E66A9-FA6D-4D68-8F31-13D35EAB431C}" dt="2023-04-03T07:33:56.047" v="616" actId="113"/>
          <ac:spMkLst>
            <pc:docMk/>
            <pc:sldMk cId="1823508212" sldId="580"/>
            <ac:spMk id="7" creationId="{C51AD665-D869-16FB-D247-668528F00D71}"/>
          </ac:spMkLst>
        </pc:spChg>
        <pc:spChg chg="mod">
          <ac:chgData name="Tarak GShah" userId="0efee70e-6e36-46a2-be46-607be09e5417" providerId="ADAL" clId="{891E66A9-FA6D-4D68-8F31-13D35EAB431C}" dt="2023-04-03T05:36:08.310" v="193" actId="1076"/>
          <ac:spMkLst>
            <pc:docMk/>
            <pc:sldMk cId="1823508212" sldId="580"/>
            <ac:spMk id="9" creationId="{3F7C2933-D473-BB9F-22D3-14D2D64EE96B}"/>
          </ac:spMkLst>
        </pc:spChg>
        <pc:spChg chg="mod">
          <ac:chgData name="Tarak GShah" userId="0efee70e-6e36-46a2-be46-607be09e5417" providerId="ADAL" clId="{891E66A9-FA6D-4D68-8F31-13D35EAB431C}" dt="2023-04-03T05:36:26.629" v="195" actId="1076"/>
          <ac:spMkLst>
            <pc:docMk/>
            <pc:sldMk cId="1823508212" sldId="580"/>
            <ac:spMk id="10" creationId="{70E62945-7345-981B-A9B2-E83A38EEC683}"/>
          </ac:spMkLst>
        </pc:spChg>
        <pc:spChg chg="mod">
          <ac:chgData name="Tarak GShah" userId="0efee70e-6e36-46a2-be46-607be09e5417" providerId="ADAL" clId="{891E66A9-FA6D-4D68-8F31-13D35EAB431C}" dt="2023-04-03T05:33:38.749" v="153" actId="14100"/>
          <ac:spMkLst>
            <pc:docMk/>
            <pc:sldMk cId="1823508212" sldId="580"/>
            <ac:spMk id="11" creationId="{03D090D4-A75D-D046-F644-2B23CFF3F715}"/>
          </ac:spMkLst>
        </pc:spChg>
      </pc:sldChg>
      <pc:sldChg chg="modSp mod">
        <pc:chgData name="Tarak GShah" userId="0efee70e-6e36-46a2-be46-607be09e5417" providerId="ADAL" clId="{891E66A9-FA6D-4D68-8F31-13D35EAB431C}" dt="2023-04-03T07:33:59.587" v="617" actId="113"/>
        <pc:sldMkLst>
          <pc:docMk/>
          <pc:sldMk cId="2728746143" sldId="581"/>
        </pc:sldMkLst>
        <pc:spChg chg="mod">
          <ac:chgData name="Tarak GShah" userId="0efee70e-6e36-46a2-be46-607be09e5417" providerId="ADAL" clId="{891E66A9-FA6D-4D68-8F31-13D35EAB431C}" dt="2023-04-03T05:38:39.866" v="275" actId="1076"/>
          <ac:spMkLst>
            <pc:docMk/>
            <pc:sldMk cId="2728746143" sldId="581"/>
            <ac:spMk id="13" creationId="{557CFBB7-5809-BAB8-EC0F-DA961DCBAA7A}"/>
          </ac:spMkLst>
        </pc:spChg>
        <pc:spChg chg="mod">
          <ac:chgData name="Tarak GShah" userId="0efee70e-6e36-46a2-be46-607be09e5417" providerId="ADAL" clId="{891E66A9-FA6D-4D68-8F31-13D35EAB431C}" dt="2023-04-03T07:33:59.587" v="617" actId="113"/>
          <ac:spMkLst>
            <pc:docMk/>
            <pc:sldMk cId="2728746143" sldId="581"/>
            <ac:spMk id="14" creationId="{6855ECF8-DA09-4FCD-5A46-7DCC4D816DCA}"/>
          </ac:spMkLst>
        </pc:spChg>
      </pc:sldChg>
      <pc:sldChg chg="addSp modSp mod">
        <pc:chgData name="Tarak GShah" userId="0efee70e-6e36-46a2-be46-607be09e5417" providerId="ADAL" clId="{891E66A9-FA6D-4D68-8F31-13D35EAB431C}" dt="2023-04-03T07:34:02.825" v="618" actId="113"/>
        <pc:sldMkLst>
          <pc:docMk/>
          <pc:sldMk cId="1546705006" sldId="582"/>
        </pc:sldMkLst>
        <pc:spChg chg="add mod">
          <ac:chgData name="Tarak GShah" userId="0efee70e-6e36-46a2-be46-607be09e5417" providerId="ADAL" clId="{891E66A9-FA6D-4D68-8F31-13D35EAB431C}" dt="2023-04-03T05:41:51.108" v="355" actId="20577"/>
          <ac:spMkLst>
            <pc:docMk/>
            <pc:sldMk cId="1546705006" sldId="582"/>
            <ac:spMk id="2" creationId="{68B66BB0-658D-2934-95F7-ABB49A7DA84B}"/>
          </ac:spMkLst>
        </pc:spChg>
        <pc:spChg chg="mod">
          <ac:chgData name="Tarak GShah" userId="0efee70e-6e36-46a2-be46-607be09e5417" providerId="ADAL" clId="{891E66A9-FA6D-4D68-8F31-13D35EAB431C}" dt="2023-04-03T07:34:02.825" v="618" actId="113"/>
          <ac:spMkLst>
            <pc:docMk/>
            <pc:sldMk cId="1546705006" sldId="582"/>
            <ac:spMk id="7" creationId="{40004F99-5260-2A14-C7E6-79DBD18988FE}"/>
          </ac:spMkLst>
        </pc:spChg>
        <pc:spChg chg="mod">
          <ac:chgData name="Tarak GShah" userId="0efee70e-6e36-46a2-be46-607be09e5417" providerId="ADAL" clId="{891E66A9-FA6D-4D68-8F31-13D35EAB431C}" dt="2023-04-03T05:39:57.030" v="283" actId="1076"/>
          <ac:spMkLst>
            <pc:docMk/>
            <pc:sldMk cId="1546705006" sldId="582"/>
            <ac:spMk id="9" creationId="{25A2B767-D6E3-3C38-5367-3E0B8FA04616}"/>
          </ac:spMkLst>
        </pc:spChg>
      </pc:sldChg>
      <pc:sldChg chg="modSp mod">
        <pc:chgData name="Tarak GShah" userId="0efee70e-6e36-46a2-be46-607be09e5417" providerId="ADAL" clId="{891E66A9-FA6D-4D68-8F31-13D35EAB431C}" dt="2023-04-03T07:34:06.509" v="619" actId="113"/>
        <pc:sldMkLst>
          <pc:docMk/>
          <pc:sldMk cId="937668548" sldId="583"/>
        </pc:sldMkLst>
        <pc:spChg chg="mod">
          <ac:chgData name="Tarak GShah" userId="0efee70e-6e36-46a2-be46-607be09e5417" providerId="ADAL" clId="{891E66A9-FA6D-4D68-8F31-13D35EAB431C}" dt="2023-04-03T07:34:06.509" v="619" actId="113"/>
          <ac:spMkLst>
            <pc:docMk/>
            <pc:sldMk cId="937668548" sldId="583"/>
            <ac:spMk id="7" creationId="{8292FE71-3AB3-B477-4F78-5AA180E97433}"/>
          </ac:spMkLst>
        </pc:spChg>
        <pc:spChg chg="mod">
          <ac:chgData name="Tarak GShah" userId="0efee70e-6e36-46a2-be46-607be09e5417" providerId="ADAL" clId="{891E66A9-FA6D-4D68-8F31-13D35EAB431C}" dt="2023-04-03T05:44:22.517" v="379" actId="20577"/>
          <ac:spMkLst>
            <pc:docMk/>
            <pc:sldMk cId="937668548" sldId="583"/>
            <ac:spMk id="8" creationId="{1EB023A0-E612-5EFB-1B3D-135C2B8B8BEA}"/>
          </ac:spMkLst>
        </pc:spChg>
        <pc:spChg chg="mod">
          <ac:chgData name="Tarak GShah" userId="0efee70e-6e36-46a2-be46-607be09e5417" providerId="ADAL" clId="{891E66A9-FA6D-4D68-8F31-13D35EAB431C}" dt="2023-04-03T05:45:27.070" v="404" actId="20577"/>
          <ac:spMkLst>
            <pc:docMk/>
            <pc:sldMk cId="937668548" sldId="583"/>
            <ac:spMk id="10" creationId="{377CE786-3BD6-92A0-74E8-86EC1F7D16F5}"/>
          </ac:spMkLst>
        </pc:spChg>
        <pc:spChg chg="mod">
          <ac:chgData name="Tarak GShah" userId="0efee70e-6e36-46a2-be46-607be09e5417" providerId="ADAL" clId="{891E66A9-FA6D-4D68-8F31-13D35EAB431C}" dt="2023-04-03T05:42:54.843" v="356" actId="20577"/>
          <ac:spMkLst>
            <pc:docMk/>
            <pc:sldMk cId="937668548" sldId="583"/>
            <ac:spMk id="11" creationId="{8B9AE23F-279E-D6AE-AB4E-4E1DAC74CAB8}"/>
          </ac:spMkLst>
        </pc:spChg>
        <pc:graphicFrameChg chg="mod">
          <ac:chgData name="Tarak GShah" userId="0efee70e-6e36-46a2-be46-607be09e5417" providerId="ADAL" clId="{891E66A9-FA6D-4D68-8F31-13D35EAB431C}" dt="2023-04-03T05:43:35.161" v="358"/>
          <ac:graphicFrameMkLst>
            <pc:docMk/>
            <pc:sldMk cId="937668548" sldId="583"/>
            <ac:graphicFrameMk id="5" creationId="{689A9445-BE28-4C99-A26B-ADADF3644378}"/>
          </ac:graphicFrameMkLst>
        </pc:graphicFrameChg>
      </pc:sldChg>
      <pc:sldChg chg="modSp mod">
        <pc:chgData name="Tarak GShah" userId="0efee70e-6e36-46a2-be46-607be09e5417" providerId="ADAL" clId="{891E66A9-FA6D-4D68-8F31-13D35EAB431C}" dt="2023-04-03T07:34:10.360" v="620" actId="113"/>
        <pc:sldMkLst>
          <pc:docMk/>
          <pc:sldMk cId="642897148" sldId="586"/>
        </pc:sldMkLst>
        <pc:spChg chg="mod">
          <ac:chgData name="Tarak GShah" userId="0efee70e-6e36-46a2-be46-607be09e5417" providerId="ADAL" clId="{891E66A9-FA6D-4D68-8F31-13D35EAB431C}" dt="2023-04-03T07:34:10.360" v="620" actId="113"/>
          <ac:spMkLst>
            <pc:docMk/>
            <pc:sldMk cId="642897148" sldId="586"/>
            <ac:spMk id="6" creationId="{0519AC15-F166-E6A8-346C-C828914EE6F4}"/>
          </ac:spMkLst>
        </pc:spChg>
        <pc:spChg chg="mod">
          <ac:chgData name="Tarak GShah" userId="0efee70e-6e36-46a2-be46-607be09e5417" providerId="ADAL" clId="{891E66A9-FA6D-4D68-8F31-13D35EAB431C}" dt="2023-04-03T05:48:52.841" v="491" actId="20577"/>
          <ac:spMkLst>
            <pc:docMk/>
            <pc:sldMk cId="642897148" sldId="586"/>
            <ac:spMk id="9" creationId="{EFE56F32-7A07-3F5A-DB7F-0C4B7587BD21}"/>
          </ac:spMkLst>
        </pc:spChg>
        <pc:spChg chg="mod">
          <ac:chgData name="Tarak GShah" userId="0efee70e-6e36-46a2-be46-607be09e5417" providerId="ADAL" clId="{891E66A9-FA6D-4D68-8F31-13D35EAB431C}" dt="2023-04-03T05:46:52.614" v="414" actId="1076"/>
          <ac:spMkLst>
            <pc:docMk/>
            <pc:sldMk cId="642897148" sldId="586"/>
            <ac:spMk id="10" creationId="{F43DDF02-D600-B9F9-FBAE-159F021E7C37}"/>
          </ac:spMkLst>
        </pc:spChg>
      </pc:sldChg>
      <pc:sldChg chg="modSp mod">
        <pc:chgData name="Tarak GShah" userId="0efee70e-6e36-46a2-be46-607be09e5417" providerId="ADAL" clId="{891E66A9-FA6D-4D68-8F31-13D35EAB431C}" dt="2023-04-03T07:33:40.814" v="603" actId="113"/>
        <pc:sldMkLst>
          <pc:docMk/>
          <pc:sldMk cId="625844712" sldId="587"/>
        </pc:sldMkLst>
        <pc:spChg chg="mod">
          <ac:chgData name="Tarak GShah" userId="0efee70e-6e36-46a2-be46-607be09e5417" providerId="ADAL" clId="{891E66A9-FA6D-4D68-8F31-13D35EAB431C}" dt="2023-04-03T07:33:40.814" v="603" actId="113"/>
          <ac:spMkLst>
            <pc:docMk/>
            <pc:sldMk cId="625844712" sldId="587"/>
            <ac:spMk id="6" creationId="{0519AC15-F166-E6A8-346C-C828914EE6F4}"/>
          </ac:spMkLst>
        </pc:spChg>
      </pc:sldChg>
      <pc:sldChg chg="modSp mod">
        <pc:chgData name="Tarak GShah" userId="0efee70e-6e36-46a2-be46-607be09e5417" providerId="ADAL" clId="{891E66A9-FA6D-4D68-8F31-13D35EAB431C}" dt="2023-04-03T08:58:01.392" v="655" actId="113"/>
        <pc:sldMkLst>
          <pc:docMk/>
          <pc:sldMk cId="2879012247" sldId="588"/>
        </pc:sldMkLst>
        <pc:spChg chg="mod">
          <ac:chgData name="Tarak GShah" userId="0efee70e-6e36-46a2-be46-607be09e5417" providerId="ADAL" clId="{891E66A9-FA6D-4D68-8F31-13D35EAB431C}" dt="2023-04-03T08:58:01.392" v="655" actId="113"/>
          <ac:spMkLst>
            <pc:docMk/>
            <pc:sldMk cId="2879012247" sldId="588"/>
            <ac:spMk id="6" creationId="{0519AC15-F166-E6A8-346C-C828914EE6F4}"/>
          </ac:spMkLst>
        </pc:spChg>
      </pc:sldChg>
      <pc:sldChg chg="modSp mod">
        <pc:chgData name="Tarak GShah" userId="0efee70e-6e36-46a2-be46-607be09e5417" providerId="ADAL" clId="{891E66A9-FA6D-4D68-8F31-13D35EAB431C}" dt="2023-04-03T09:45:38.717" v="658" actId="113"/>
        <pc:sldMkLst>
          <pc:docMk/>
          <pc:sldMk cId="672823356" sldId="591"/>
        </pc:sldMkLst>
        <pc:spChg chg="mod">
          <ac:chgData name="Tarak GShah" userId="0efee70e-6e36-46a2-be46-607be09e5417" providerId="ADAL" clId="{891E66A9-FA6D-4D68-8F31-13D35EAB431C}" dt="2023-04-03T05:28:39.930" v="20" actId="313"/>
          <ac:spMkLst>
            <pc:docMk/>
            <pc:sldMk cId="672823356" sldId="591"/>
            <ac:spMk id="2" creationId="{1862E8F6-7C5E-4B7B-5843-80BC7631C437}"/>
          </ac:spMkLst>
        </pc:spChg>
        <pc:spChg chg="mod">
          <ac:chgData name="Tarak GShah" userId="0efee70e-6e36-46a2-be46-607be09e5417" providerId="ADAL" clId="{891E66A9-FA6D-4D68-8F31-13D35EAB431C}" dt="2023-04-03T09:45:38.717" v="658" actId="113"/>
          <ac:spMkLst>
            <pc:docMk/>
            <pc:sldMk cId="672823356" sldId="591"/>
            <ac:spMk id="6" creationId="{0519AC15-F166-E6A8-346C-C828914EE6F4}"/>
          </ac:spMkLst>
        </pc:spChg>
        <pc:spChg chg="mod">
          <ac:chgData name="Tarak GShah" userId="0efee70e-6e36-46a2-be46-607be09e5417" providerId="ADAL" clId="{891E66A9-FA6D-4D68-8F31-13D35EAB431C}" dt="2023-04-03T05:29:14.995" v="46" actId="20577"/>
          <ac:spMkLst>
            <pc:docMk/>
            <pc:sldMk cId="672823356" sldId="591"/>
            <ac:spMk id="12" creationId="{4D39F61A-1D06-8A45-DA79-9445BD7E53DF}"/>
          </ac:spMkLst>
        </pc:spChg>
      </pc:sldChg>
      <pc:sldChg chg="modSp mod">
        <pc:chgData name="Tarak GShah" userId="0efee70e-6e36-46a2-be46-607be09e5417" providerId="ADAL" clId="{891E66A9-FA6D-4D68-8F31-13D35EAB431C}" dt="2023-04-03T07:34:20.066" v="622" actId="113"/>
        <pc:sldMkLst>
          <pc:docMk/>
          <pc:sldMk cId="2327826793" sldId="593"/>
        </pc:sldMkLst>
        <pc:spChg chg="mod">
          <ac:chgData name="Tarak GShah" userId="0efee70e-6e36-46a2-be46-607be09e5417" providerId="ADAL" clId="{891E66A9-FA6D-4D68-8F31-13D35EAB431C}" dt="2023-04-03T05:50:23.882" v="517" actId="20577"/>
          <ac:spMkLst>
            <pc:docMk/>
            <pc:sldMk cId="2327826793" sldId="593"/>
            <ac:spMk id="2" creationId="{513FF381-C224-07A0-523F-52B81384E11A}"/>
          </ac:spMkLst>
        </pc:spChg>
        <pc:spChg chg="mod">
          <ac:chgData name="Tarak GShah" userId="0efee70e-6e36-46a2-be46-607be09e5417" providerId="ADAL" clId="{891E66A9-FA6D-4D68-8F31-13D35EAB431C}" dt="2023-04-03T07:34:20.066" v="622" actId="113"/>
          <ac:spMkLst>
            <pc:docMk/>
            <pc:sldMk cId="2327826793" sldId="593"/>
            <ac:spMk id="9" creationId="{11EA8993-7542-8C04-940C-09738735AB65}"/>
          </ac:spMkLst>
        </pc:spChg>
      </pc:sldChg>
      <pc:sldChg chg="modSp mod">
        <pc:chgData name="Tarak GShah" userId="0efee70e-6e36-46a2-be46-607be09e5417" providerId="ADAL" clId="{891E66A9-FA6D-4D68-8F31-13D35EAB431C}" dt="2023-04-03T07:34:15.937" v="621" actId="113"/>
        <pc:sldMkLst>
          <pc:docMk/>
          <pc:sldMk cId="2161058332" sldId="594"/>
        </pc:sldMkLst>
        <pc:spChg chg="mod">
          <ac:chgData name="Tarak GShah" userId="0efee70e-6e36-46a2-be46-607be09e5417" providerId="ADAL" clId="{891E66A9-FA6D-4D68-8F31-13D35EAB431C}" dt="2023-04-03T07:34:15.937" v="621" actId="113"/>
          <ac:spMkLst>
            <pc:docMk/>
            <pc:sldMk cId="2161058332" sldId="594"/>
            <ac:spMk id="24" creationId="{CBC71E25-8CAF-E7D4-326C-EA7F84BA207E}"/>
          </ac:spMkLst>
        </pc:spChg>
      </pc:sldChg>
      <pc:sldChg chg="modSp mod">
        <pc:chgData name="Tarak GShah" userId="0efee70e-6e36-46a2-be46-607be09e5417" providerId="ADAL" clId="{891E66A9-FA6D-4D68-8F31-13D35EAB431C}" dt="2023-04-03T07:52:50.419" v="627" actId="20577"/>
        <pc:sldMkLst>
          <pc:docMk/>
          <pc:sldMk cId="400258761" sldId="595"/>
        </pc:sldMkLst>
        <pc:spChg chg="mod">
          <ac:chgData name="Tarak GShah" userId="0efee70e-6e36-46a2-be46-607be09e5417" providerId="ADAL" clId="{891E66A9-FA6D-4D68-8F31-13D35EAB431C}" dt="2023-04-03T07:34:23.590" v="623" actId="113"/>
          <ac:spMkLst>
            <pc:docMk/>
            <pc:sldMk cId="400258761" sldId="595"/>
            <ac:spMk id="2" creationId="{8FFC35FA-14BC-EB8A-D78D-88046CD5728E}"/>
          </ac:spMkLst>
        </pc:spChg>
        <pc:spChg chg="mod">
          <ac:chgData name="Tarak GShah" userId="0efee70e-6e36-46a2-be46-607be09e5417" providerId="ADAL" clId="{891E66A9-FA6D-4D68-8F31-13D35EAB431C}" dt="2023-04-03T07:30:32.300" v="536" actId="6549"/>
          <ac:spMkLst>
            <pc:docMk/>
            <pc:sldMk cId="400258761" sldId="595"/>
            <ac:spMk id="5" creationId="{43408B3B-3F8D-04B9-0AE9-93A9DCE41BB4}"/>
          </ac:spMkLst>
        </pc:spChg>
        <pc:graphicFrameChg chg="mod">
          <ac:chgData name="Tarak GShah" userId="0efee70e-6e36-46a2-be46-607be09e5417" providerId="ADAL" clId="{891E66A9-FA6D-4D68-8F31-13D35EAB431C}" dt="2023-04-03T07:52:42.145" v="626" actId="20577"/>
          <ac:graphicFrameMkLst>
            <pc:docMk/>
            <pc:sldMk cId="400258761" sldId="595"/>
            <ac:graphicFrameMk id="3" creationId="{1ACE1B0F-D825-4DF6-AC26-DBB0473EACC6}"/>
          </ac:graphicFrameMkLst>
        </pc:graphicFrameChg>
        <pc:graphicFrameChg chg="mod">
          <ac:chgData name="Tarak GShah" userId="0efee70e-6e36-46a2-be46-607be09e5417" providerId="ADAL" clId="{891E66A9-FA6D-4D68-8F31-13D35EAB431C}" dt="2023-04-03T07:52:50.419" v="627" actId="20577"/>
          <ac:graphicFrameMkLst>
            <pc:docMk/>
            <pc:sldMk cId="400258761" sldId="595"/>
            <ac:graphicFrameMk id="4" creationId="{7B218D46-33C5-4EE2-9705-0D43CAC7F208}"/>
          </ac:graphicFrameMkLst>
        </pc:graphicFrameChg>
      </pc:sldChg>
      <pc:sldChg chg="modSp mod">
        <pc:chgData name="Tarak GShah" userId="0efee70e-6e36-46a2-be46-607be09e5417" providerId="ADAL" clId="{891E66A9-FA6D-4D68-8F31-13D35EAB431C}" dt="2023-04-03T09:45:49.389" v="659" actId="113"/>
        <pc:sldMkLst>
          <pc:docMk/>
          <pc:sldMk cId="1219602856" sldId="596"/>
        </pc:sldMkLst>
        <pc:spChg chg="mod">
          <ac:chgData name="Tarak GShah" userId="0efee70e-6e36-46a2-be46-607be09e5417" providerId="ADAL" clId="{891E66A9-FA6D-4D68-8F31-13D35EAB431C}" dt="2023-04-03T09:45:49.389" v="659" actId="113"/>
          <ac:spMkLst>
            <pc:docMk/>
            <pc:sldMk cId="1219602856" sldId="596"/>
            <ac:spMk id="5" creationId="{A0A81B92-3830-D274-3B19-252FDCD7B30C}"/>
          </ac:spMkLst>
        </pc:spChg>
        <pc:spChg chg="mod">
          <ac:chgData name="Tarak GShah" userId="0efee70e-6e36-46a2-be46-607be09e5417" providerId="ADAL" clId="{891E66A9-FA6D-4D68-8F31-13D35EAB431C}" dt="2023-04-03T07:32:48.870" v="600" actId="20577"/>
          <ac:spMkLst>
            <pc:docMk/>
            <pc:sldMk cId="1219602856" sldId="596"/>
            <ac:spMk id="7" creationId="{B2640DE4-E517-6ED0-28C4-998BD952F18A}"/>
          </ac:spMkLst>
        </pc:spChg>
      </pc:sldChg>
      <pc:sldChg chg="modSp mod">
        <pc:chgData name="Tarak GShah" userId="0efee70e-6e36-46a2-be46-607be09e5417" providerId="ADAL" clId="{891E66A9-FA6D-4D68-8F31-13D35EAB431C}" dt="2023-04-03T09:45:52.872" v="660" actId="113"/>
        <pc:sldMkLst>
          <pc:docMk/>
          <pc:sldMk cId="2214315030" sldId="597"/>
        </pc:sldMkLst>
        <pc:spChg chg="mod">
          <ac:chgData name="Tarak GShah" userId="0efee70e-6e36-46a2-be46-607be09e5417" providerId="ADAL" clId="{891E66A9-FA6D-4D68-8F31-13D35EAB431C}" dt="2023-04-03T09:45:52.872" v="660" actId="113"/>
          <ac:spMkLst>
            <pc:docMk/>
            <pc:sldMk cId="2214315030" sldId="597"/>
            <ac:spMk id="2" creationId="{02322E14-4016-CDEC-99B1-F60FF8012557}"/>
          </ac:spMkLst>
        </pc:spChg>
      </pc:sldChg>
      <pc:sldChg chg="modSp mod">
        <pc:chgData name="Tarak GShah" userId="0efee70e-6e36-46a2-be46-607be09e5417" providerId="ADAL" clId="{891E66A9-FA6D-4D68-8F31-13D35EAB431C}" dt="2023-04-03T07:33:32.063" v="601" actId="113"/>
        <pc:sldMkLst>
          <pc:docMk/>
          <pc:sldMk cId="2191905533" sldId="598"/>
        </pc:sldMkLst>
        <pc:spChg chg="mod">
          <ac:chgData name="Tarak GShah" userId="0efee70e-6e36-46a2-be46-607be09e5417" providerId="ADAL" clId="{891E66A9-FA6D-4D68-8F31-13D35EAB431C}" dt="2023-04-03T07:33:32.063" v="601" actId="113"/>
          <ac:spMkLst>
            <pc:docMk/>
            <pc:sldMk cId="2191905533" sldId="598"/>
            <ac:spMk id="6" creationId="{CAED7AB5-E781-F20D-378B-E2217BE7BC90}"/>
          </ac:spMkLst>
        </pc:spChg>
      </pc:sldChg>
      <pc:sldChg chg="modSp mod">
        <pc:chgData name="Tarak GShah" userId="0efee70e-6e36-46a2-be46-607be09e5417" providerId="ADAL" clId="{891E66A9-FA6D-4D68-8F31-13D35EAB431C}" dt="2023-04-03T09:46:10.077" v="671" actId="20577"/>
        <pc:sldMkLst>
          <pc:docMk/>
          <pc:sldMk cId="2883837801" sldId="599"/>
        </pc:sldMkLst>
        <pc:spChg chg="mod">
          <ac:chgData name="Tarak GShah" userId="0efee70e-6e36-46a2-be46-607be09e5417" providerId="ADAL" clId="{891E66A9-FA6D-4D68-8F31-13D35EAB431C}" dt="2023-04-03T09:46:10.077" v="671" actId="20577"/>
          <ac:spMkLst>
            <pc:docMk/>
            <pc:sldMk cId="2883837801" sldId="599"/>
            <ac:spMk id="3" creationId="{B242A733-9D1A-6C54-3530-963FC557100A}"/>
          </ac:spMkLst>
        </pc:spChg>
      </pc:sldChg>
      <pc:sldChg chg="modSp mod">
        <pc:chgData name="Tarak GShah" userId="0efee70e-6e36-46a2-be46-607be09e5417" providerId="ADAL" clId="{891E66A9-FA6D-4D68-8F31-13D35EAB431C}" dt="2023-04-03T08:58:06.472" v="656" actId="113"/>
        <pc:sldMkLst>
          <pc:docMk/>
          <pc:sldMk cId="1999110334" sldId="2145706463"/>
        </pc:sldMkLst>
        <pc:spChg chg="mod">
          <ac:chgData name="Tarak GShah" userId="0efee70e-6e36-46a2-be46-607be09e5417" providerId="ADAL" clId="{891E66A9-FA6D-4D68-8F31-13D35EAB431C}" dt="2023-04-03T08:58:06.472" v="656" actId="113"/>
          <ac:spMkLst>
            <pc:docMk/>
            <pc:sldMk cId="1999110334" sldId="2145706463"/>
            <ac:spMk id="3" creationId="{FE705A8F-E870-A92D-AC23-441FF62A427A}"/>
          </ac:spMkLst>
        </pc:spChg>
      </pc:sldChg>
      <pc:sldChg chg="modSp mod">
        <pc:chgData name="Tarak GShah" userId="0efee70e-6e36-46a2-be46-607be09e5417" providerId="ADAL" clId="{891E66A9-FA6D-4D68-8F31-13D35EAB431C}" dt="2023-04-03T09:45:58.243" v="661" actId="113"/>
        <pc:sldMkLst>
          <pc:docMk/>
          <pc:sldMk cId="3265459898" sldId="2145706464"/>
        </pc:sldMkLst>
        <pc:spChg chg="mod">
          <ac:chgData name="Tarak GShah" userId="0efee70e-6e36-46a2-be46-607be09e5417" providerId="ADAL" clId="{891E66A9-FA6D-4D68-8F31-13D35EAB431C}" dt="2023-04-03T09:45:58.243" v="661" actId="113"/>
          <ac:spMkLst>
            <pc:docMk/>
            <pc:sldMk cId="3265459898" sldId="2145706464"/>
            <ac:spMk id="6" creationId="{5D116D3E-6BB2-399B-688F-980544EB16B1}"/>
          </ac:spMkLst>
        </pc:spChg>
      </pc:sldChg>
      <pc:sldChg chg="modSp mod">
        <pc:chgData name="Tarak GShah" userId="0efee70e-6e36-46a2-be46-607be09e5417" providerId="ADAL" clId="{891E66A9-FA6D-4D68-8F31-13D35EAB431C}" dt="2023-04-03T09:46:01.927" v="662" actId="113"/>
        <pc:sldMkLst>
          <pc:docMk/>
          <pc:sldMk cId="676712582" sldId="2145706479"/>
        </pc:sldMkLst>
        <pc:spChg chg="mod">
          <ac:chgData name="Tarak GShah" userId="0efee70e-6e36-46a2-be46-607be09e5417" providerId="ADAL" clId="{891E66A9-FA6D-4D68-8F31-13D35EAB431C}" dt="2023-04-03T09:46:01.927" v="662" actId="113"/>
          <ac:spMkLst>
            <pc:docMk/>
            <pc:sldMk cId="676712582" sldId="2145706479"/>
            <ac:spMk id="2" creationId="{CD0B7E44-81D8-7CD6-B6D8-FE96DD20FF3D}"/>
          </ac:spMkLst>
        </pc:spChg>
      </pc:sldChg>
      <pc:sldChg chg="addSp delSp modSp new del mod modClrScheme chgLayout">
        <pc:chgData name="Tarak GShah" userId="0efee70e-6e36-46a2-be46-607be09e5417" providerId="ADAL" clId="{891E66A9-FA6D-4D68-8F31-13D35EAB431C}" dt="2023-04-03T07:58:47.699" v="650" actId="47"/>
        <pc:sldMkLst>
          <pc:docMk/>
          <pc:sldMk cId="769564968" sldId="2145706481"/>
        </pc:sldMkLst>
        <pc:spChg chg="del">
          <ac:chgData name="Tarak GShah" userId="0efee70e-6e36-46a2-be46-607be09e5417" providerId="ADAL" clId="{891E66A9-FA6D-4D68-8F31-13D35EAB431C}" dt="2023-04-03T07:55:33.720" v="636" actId="700"/>
          <ac:spMkLst>
            <pc:docMk/>
            <pc:sldMk cId="769564968" sldId="2145706481"/>
            <ac:spMk id="2" creationId="{A438C527-5B70-C1AB-09A5-48D12684B94F}"/>
          </ac:spMkLst>
        </pc:spChg>
        <pc:spChg chg="del">
          <ac:chgData name="Tarak GShah" userId="0efee70e-6e36-46a2-be46-607be09e5417" providerId="ADAL" clId="{891E66A9-FA6D-4D68-8F31-13D35EAB431C}" dt="2023-04-03T07:55:33.720" v="636" actId="700"/>
          <ac:spMkLst>
            <pc:docMk/>
            <pc:sldMk cId="769564968" sldId="2145706481"/>
            <ac:spMk id="3" creationId="{412877D7-D5EE-CD33-1B73-B78F1C4C45B5}"/>
          </ac:spMkLst>
        </pc:spChg>
        <pc:spChg chg="del">
          <ac:chgData name="Tarak GShah" userId="0efee70e-6e36-46a2-be46-607be09e5417" providerId="ADAL" clId="{891E66A9-FA6D-4D68-8F31-13D35EAB431C}" dt="2023-04-03T07:55:33.720" v="636" actId="700"/>
          <ac:spMkLst>
            <pc:docMk/>
            <pc:sldMk cId="769564968" sldId="2145706481"/>
            <ac:spMk id="4" creationId="{F484E666-F36E-1E4E-44B2-DE616A47BA2D}"/>
          </ac:spMkLst>
        </pc:spChg>
        <pc:picChg chg="add mod">
          <ac:chgData name="Tarak GShah" userId="0efee70e-6e36-46a2-be46-607be09e5417" providerId="ADAL" clId="{891E66A9-FA6D-4D68-8F31-13D35EAB431C}" dt="2023-04-03T07:55:40.365" v="642" actId="1076"/>
          <ac:picMkLst>
            <pc:docMk/>
            <pc:sldMk cId="769564968" sldId="2145706481"/>
            <ac:picMk id="6" creationId="{80EF7331-AB5A-6335-D10C-7A5C38BC47A3}"/>
          </ac:picMkLst>
        </pc:picChg>
      </pc:sldChg>
    </pc:docChg>
  </pc:docChgLst>
  <pc:docChgLst>
    <pc:chgData name="Vidya Nidhi" userId="0b6ccc11-e41c-42f4-b6aa-14c6bcf23a0e" providerId="ADAL" clId="{8403E6E4-217E-4D1D-84DA-1027F155F5EF}"/>
    <pc:docChg chg="custSel modSld">
      <pc:chgData name="Vidya Nidhi" userId="0b6ccc11-e41c-42f4-b6aa-14c6bcf23a0e" providerId="ADAL" clId="{8403E6E4-217E-4D1D-84DA-1027F155F5EF}" dt="2023-12-04T08:56:36.577" v="99" actId="1035"/>
      <pc:docMkLst>
        <pc:docMk/>
      </pc:docMkLst>
      <pc:sldChg chg="addSp delSp modSp mod">
        <pc:chgData name="Vidya Nidhi" userId="0b6ccc11-e41c-42f4-b6aa-14c6bcf23a0e" providerId="ADAL" clId="{8403E6E4-217E-4D1D-84DA-1027F155F5EF}" dt="2023-11-28T03:11:37.086" v="89" actId="478"/>
        <pc:sldMkLst>
          <pc:docMk/>
          <pc:sldMk cId="2191905533" sldId="598"/>
        </pc:sldMkLst>
        <pc:spChg chg="mod">
          <ac:chgData name="Vidya Nidhi" userId="0b6ccc11-e41c-42f4-b6aa-14c6bcf23a0e" providerId="ADAL" clId="{8403E6E4-217E-4D1D-84DA-1027F155F5EF}" dt="2023-11-28T02:47:11.242" v="86" actId="404"/>
          <ac:spMkLst>
            <pc:docMk/>
            <pc:sldMk cId="2191905533" sldId="598"/>
            <ac:spMk id="2" creationId="{74351368-FA28-BABB-8D1A-2DEF71A2CAB4}"/>
          </ac:spMkLst>
        </pc:spChg>
        <pc:spChg chg="mod">
          <ac:chgData name="Vidya Nidhi" userId="0b6ccc11-e41c-42f4-b6aa-14c6bcf23a0e" providerId="ADAL" clId="{8403E6E4-217E-4D1D-84DA-1027F155F5EF}" dt="2023-11-28T02:47:11.242" v="86" actId="404"/>
          <ac:spMkLst>
            <pc:docMk/>
            <pc:sldMk cId="2191905533" sldId="598"/>
            <ac:spMk id="3" creationId="{99694D3A-CC8C-F9E3-E592-0F088067384F}"/>
          </ac:spMkLst>
        </pc:spChg>
        <pc:spChg chg="mod">
          <ac:chgData name="Vidya Nidhi" userId="0b6ccc11-e41c-42f4-b6aa-14c6bcf23a0e" providerId="ADAL" clId="{8403E6E4-217E-4D1D-84DA-1027F155F5EF}" dt="2023-11-28T02:47:11.242" v="86" actId="404"/>
          <ac:spMkLst>
            <pc:docMk/>
            <pc:sldMk cId="2191905533" sldId="598"/>
            <ac:spMk id="8" creationId="{72458AAC-FCC1-924D-D5A8-42562040723C}"/>
          </ac:spMkLst>
        </pc:spChg>
        <pc:spChg chg="mod">
          <ac:chgData name="Vidya Nidhi" userId="0b6ccc11-e41c-42f4-b6aa-14c6bcf23a0e" providerId="ADAL" clId="{8403E6E4-217E-4D1D-84DA-1027F155F5EF}" dt="2023-11-28T02:47:11.242" v="86" actId="404"/>
          <ac:spMkLst>
            <pc:docMk/>
            <pc:sldMk cId="2191905533" sldId="598"/>
            <ac:spMk id="11" creationId="{AC3AC6A4-5836-E5C8-CCEB-26814E631DCF}"/>
          </ac:spMkLst>
        </pc:spChg>
        <pc:spChg chg="mod">
          <ac:chgData name="Vidya Nidhi" userId="0b6ccc11-e41c-42f4-b6aa-14c6bcf23a0e" providerId="ADAL" clId="{8403E6E4-217E-4D1D-84DA-1027F155F5EF}" dt="2023-11-28T02:47:11.242" v="86" actId="404"/>
          <ac:spMkLst>
            <pc:docMk/>
            <pc:sldMk cId="2191905533" sldId="598"/>
            <ac:spMk id="12" creationId="{4DFB6814-1B0B-0C0F-1B08-137E00C54DAB}"/>
          </ac:spMkLst>
        </pc:spChg>
        <pc:spChg chg="mod">
          <ac:chgData name="Vidya Nidhi" userId="0b6ccc11-e41c-42f4-b6aa-14c6bcf23a0e" providerId="ADAL" clId="{8403E6E4-217E-4D1D-84DA-1027F155F5EF}" dt="2023-11-28T02:47:11.242" v="86" actId="404"/>
          <ac:spMkLst>
            <pc:docMk/>
            <pc:sldMk cId="2191905533" sldId="598"/>
            <ac:spMk id="13" creationId="{D79B22F2-FB0C-8DDF-44A3-09EE752E3FE8}"/>
          </ac:spMkLst>
        </pc:spChg>
        <pc:spChg chg="add mod">
          <ac:chgData name="Vidya Nidhi" userId="0b6ccc11-e41c-42f4-b6aa-14c6bcf23a0e" providerId="ADAL" clId="{8403E6E4-217E-4D1D-84DA-1027F155F5EF}" dt="2023-11-28T02:47:11.242" v="86" actId="404"/>
          <ac:spMkLst>
            <pc:docMk/>
            <pc:sldMk cId="2191905533" sldId="598"/>
            <ac:spMk id="19" creationId="{201F8DDC-666B-2DBE-40F9-CB2D35D36440}"/>
          </ac:spMkLst>
        </pc:spChg>
        <pc:grpChg chg="add mod">
          <ac:chgData name="Vidya Nidhi" userId="0b6ccc11-e41c-42f4-b6aa-14c6bcf23a0e" providerId="ADAL" clId="{8403E6E4-217E-4D1D-84DA-1027F155F5EF}" dt="2023-11-28T02:44:25.711" v="80" actId="164"/>
          <ac:grpSpMkLst>
            <pc:docMk/>
            <pc:sldMk cId="2191905533" sldId="598"/>
            <ac:grpSpMk id="10" creationId="{53D8DE7F-12EE-3C9B-1AD2-7B48F9555A93}"/>
          </ac:grpSpMkLst>
        </pc:grpChg>
        <pc:grpChg chg="add mod">
          <ac:chgData name="Vidya Nidhi" userId="0b6ccc11-e41c-42f4-b6aa-14c6bcf23a0e" providerId="ADAL" clId="{8403E6E4-217E-4D1D-84DA-1027F155F5EF}" dt="2023-11-28T02:44:25.711" v="80" actId="164"/>
          <ac:grpSpMkLst>
            <pc:docMk/>
            <pc:sldMk cId="2191905533" sldId="598"/>
            <ac:grpSpMk id="20" creationId="{AAE771D3-FE16-C858-CE22-44EC435C22A8}"/>
          </ac:grpSpMkLst>
        </pc:grpChg>
        <pc:cxnChg chg="mod">
          <ac:chgData name="Vidya Nidhi" userId="0b6ccc11-e41c-42f4-b6aa-14c6bcf23a0e" providerId="ADAL" clId="{8403E6E4-217E-4D1D-84DA-1027F155F5EF}" dt="2023-11-28T02:39:33.797" v="0" actId="164"/>
          <ac:cxnSpMkLst>
            <pc:docMk/>
            <pc:sldMk cId="2191905533" sldId="598"/>
            <ac:cxnSpMk id="6" creationId="{7C363E25-E0F9-9EFE-7578-07EE5C39B5FF}"/>
          </ac:cxnSpMkLst>
        </pc:cxnChg>
        <pc:cxnChg chg="mod">
          <ac:chgData name="Vidya Nidhi" userId="0b6ccc11-e41c-42f4-b6aa-14c6bcf23a0e" providerId="ADAL" clId="{8403E6E4-217E-4D1D-84DA-1027F155F5EF}" dt="2023-11-28T02:39:33.797" v="0" actId="164"/>
          <ac:cxnSpMkLst>
            <pc:docMk/>
            <pc:sldMk cId="2191905533" sldId="598"/>
            <ac:cxnSpMk id="7" creationId="{69B5A71B-0BFB-CE05-906A-09BC1203E2BD}"/>
          </ac:cxnSpMkLst>
        </pc:cxnChg>
        <pc:cxnChg chg="mod">
          <ac:chgData name="Vidya Nidhi" userId="0b6ccc11-e41c-42f4-b6aa-14c6bcf23a0e" providerId="ADAL" clId="{8403E6E4-217E-4D1D-84DA-1027F155F5EF}" dt="2023-11-28T02:42:28.394" v="2" actId="1076"/>
          <ac:cxnSpMkLst>
            <pc:docMk/>
            <pc:sldMk cId="2191905533" sldId="598"/>
            <ac:cxnSpMk id="9" creationId="{C867AB42-7012-6EF7-6B79-EFC0F3975614}"/>
          </ac:cxnSpMkLst>
        </pc:cxnChg>
        <pc:cxnChg chg="add mod">
          <ac:chgData name="Vidya Nidhi" userId="0b6ccc11-e41c-42f4-b6aa-14c6bcf23a0e" providerId="ADAL" clId="{8403E6E4-217E-4D1D-84DA-1027F155F5EF}" dt="2023-11-28T02:44:25.711" v="80" actId="164"/>
          <ac:cxnSpMkLst>
            <pc:docMk/>
            <pc:sldMk cId="2191905533" sldId="598"/>
            <ac:cxnSpMk id="15" creationId="{D500EC72-A6D3-7F15-466A-ADB11E7F83BB}"/>
          </ac:cxnSpMkLst>
        </pc:cxnChg>
        <pc:cxnChg chg="add del mod">
          <ac:chgData name="Vidya Nidhi" userId="0b6ccc11-e41c-42f4-b6aa-14c6bcf23a0e" providerId="ADAL" clId="{8403E6E4-217E-4D1D-84DA-1027F155F5EF}" dt="2023-11-28T03:11:37.086" v="89" actId="478"/>
          <ac:cxnSpMkLst>
            <pc:docMk/>
            <pc:sldMk cId="2191905533" sldId="598"/>
            <ac:cxnSpMk id="22" creationId="{2FC7B05B-1DF8-E55B-FDF7-0ECB93DEFAAE}"/>
          </ac:cxnSpMkLst>
        </pc:cxnChg>
      </pc:sldChg>
      <pc:sldChg chg="mod modShow">
        <pc:chgData name="Vidya Nidhi" userId="0b6ccc11-e41c-42f4-b6aa-14c6bcf23a0e" providerId="ADAL" clId="{8403E6E4-217E-4D1D-84DA-1027F155F5EF}" dt="2023-12-01T20:11:54.562" v="91" actId="729"/>
        <pc:sldMkLst>
          <pc:docMk/>
          <pc:sldMk cId="1302114303" sldId="794"/>
        </pc:sldMkLst>
      </pc:sldChg>
      <pc:sldChg chg="mod modShow">
        <pc:chgData name="Vidya Nidhi" userId="0b6ccc11-e41c-42f4-b6aa-14c6bcf23a0e" providerId="ADAL" clId="{8403E6E4-217E-4D1D-84DA-1027F155F5EF}" dt="2023-12-01T20:11:42.349" v="90" actId="729"/>
        <pc:sldMkLst>
          <pc:docMk/>
          <pc:sldMk cId="689180703" sldId="801"/>
        </pc:sldMkLst>
      </pc:sldChg>
      <pc:sldChg chg="mod modShow">
        <pc:chgData name="Vidya Nidhi" userId="0b6ccc11-e41c-42f4-b6aa-14c6bcf23a0e" providerId="ADAL" clId="{8403E6E4-217E-4D1D-84DA-1027F155F5EF}" dt="2023-12-01T20:12:18.467" v="92" actId="729"/>
        <pc:sldMkLst>
          <pc:docMk/>
          <pc:sldMk cId="3471026352" sldId="833"/>
        </pc:sldMkLst>
      </pc:sldChg>
      <pc:sldChg chg="modSp mod modShow">
        <pc:chgData name="Vidya Nidhi" userId="0b6ccc11-e41c-42f4-b6aa-14c6bcf23a0e" providerId="ADAL" clId="{8403E6E4-217E-4D1D-84DA-1027F155F5EF}" dt="2023-12-04T08:56:36.577" v="99" actId="1035"/>
        <pc:sldMkLst>
          <pc:docMk/>
          <pc:sldMk cId="3951808379" sldId="834"/>
        </pc:sldMkLst>
        <pc:picChg chg="mod">
          <ac:chgData name="Vidya Nidhi" userId="0b6ccc11-e41c-42f4-b6aa-14c6bcf23a0e" providerId="ADAL" clId="{8403E6E4-217E-4D1D-84DA-1027F155F5EF}" dt="2023-12-04T08:56:36.577" v="99" actId="1035"/>
          <ac:picMkLst>
            <pc:docMk/>
            <pc:sldMk cId="3951808379" sldId="834"/>
            <ac:picMk id="61" creationId="{A496A1BE-CE0E-6C00-E106-158B80CD1971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9BAD13E-807E-4FCE-B971-9F540F59CE2E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D64E301-F4CE-4130-B5DF-6FEAC939C5E4}">
      <dgm:prSet custT="1"/>
      <dgm:spPr>
        <a:solidFill>
          <a:srgbClr val="7030A0"/>
        </a:solidFill>
      </dgm:spPr>
      <dgm:t>
        <a:bodyPr/>
        <a:lstStyle/>
        <a:p>
          <a:r>
            <a:rPr lang="en-US" sz="1100" b="1" dirty="0">
              <a:solidFill>
                <a:schemeClr val="bg1"/>
              </a:solidFill>
            </a:rPr>
            <a:t>Pilot </a:t>
          </a:r>
        </a:p>
      </dgm:t>
    </dgm:pt>
    <dgm:pt modelId="{C9414C77-9F6A-45D4-82C4-402E1EA1C1EA}" type="sibTrans" cxnId="{5B904AF9-6A8B-4188-9C5D-DDF4A0FF1A3C}">
      <dgm:prSet/>
      <dgm:spPr/>
      <dgm:t>
        <a:bodyPr/>
        <a:lstStyle/>
        <a:p>
          <a:endParaRPr lang="en-US" sz="1100" b="1"/>
        </a:p>
      </dgm:t>
    </dgm:pt>
    <dgm:pt modelId="{16A161ED-48FF-4C0B-944E-AF2B9866642B}" type="parTrans" cxnId="{5B904AF9-6A8B-4188-9C5D-DDF4A0FF1A3C}">
      <dgm:prSet/>
      <dgm:spPr/>
      <dgm:t>
        <a:bodyPr/>
        <a:lstStyle/>
        <a:p>
          <a:endParaRPr lang="en-US" sz="1100" b="1"/>
        </a:p>
      </dgm:t>
    </dgm:pt>
    <dgm:pt modelId="{7CB4D3D6-4C06-483E-9712-E94604BB8211}">
      <dgm:prSet custT="1"/>
      <dgm:spPr>
        <a:solidFill>
          <a:schemeClr val="accent4"/>
        </a:solidFill>
      </dgm:spPr>
      <dgm:t>
        <a:bodyPr/>
        <a:lstStyle/>
        <a:p>
          <a:r>
            <a:rPr lang="en-US" sz="1100" b="1" dirty="0">
              <a:solidFill>
                <a:schemeClr val="tx1"/>
              </a:solidFill>
            </a:rPr>
            <a:t>Deployment and Training</a:t>
          </a:r>
        </a:p>
      </dgm:t>
    </dgm:pt>
    <dgm:pt modelId="{ED127B3E-E2C1-4444-A811-394648375C8F}" type="sibTrans" cxnId="{D9ACBCF0-7D96-440A-8B71-0BF289C831D2}">
      <dgm:prSet/>
      <dgm:spPr/>
      <dgm:t>
        <a:bodyPr/>
        <a:lstStyle/>
        <a:p>
          <a:endParaRPr lang="en-US" sz="1100" b="1"/>
        </a:p>
      </dgm:t>
    </dgm:pt>
    <dgm:pt modelId="{8FA56EE9-9302-4566-AE05-0B3C9EFB6F6C}" type="parTrans" cxnId="{D9ACBCF0-7D96-440A-8B71-0BF289C831D2}">
      <dgm:prSet/>
      <dgm:spPr/>
      <dgm:t>
        <a:bodyPr/>
        <a:lstStyle/>
        <a:p>
          <a:endParaRPr lang="en-US" sz="1100" b="1"/>
        </a:p>
      </dgm:t>
    </dgm:pt>
    <dgm:pt modelId="{BB2CEF37-19EB-4D3C-9575-24A73FC2296A}">
      <dgm:prSet phldrT="[Text]" custT="1"/>
      <dgm:spPr>
        <a:solidFill>
          <a:schemeClr val="accent4"/>
        </a:solidFill>
      </dgm:spPr>
      <dgm:t>
        <a:bodyPr/>
        <a:lstStyle/>
        <a:p>
          <a:r>
            <a:rPr lang="en-US" sz="1100" b="1" dirty="0">
              <a:solidFill>
                <a:schemeClr val="tx1"/>
              </a:solidFill>
            </a:rPr>
            <a:t>Hosting</a:t>
          </a:r>
        </a:p>
      </dgm:t>
    </dgm:pt>
    <dgm:pt modelId="{7A5D65E4-05C6-4690-99DB-E1D1E83FC651}" type="sibTrans" cxnId="{D1F46B14-8E7B-48DF-BAF9-6B2C4658BA89}">
      <dgm:prSet/>
      <dgm:spPr/>
      <dgm:t>
        <a:bodyPr/>
        <a:lstStyle/>
        <a:p>
          <a:endParaRPr lang="en-US" sz="1100" b="1"/>
        </a:p>
      </dgm:t>
    </dgm:pt>
    <dgm:pt modelId="{ACB12228-A9F4-471D-87B3-D3836F5B1A40}" type="parTrans" cxnId="{D1F46B14-8E7B-48DF-BAF9-6B2C4658BA89}">
      <dgm:prSet/>
      <dgm:spPr/>
      <dgm:t>
        <a:bodyPr/>
        <a:lstStyle/>
        <a:p>
          <a:endParaRPr lang="en-US" sz="1100" b="1"/>
        </a:p>
      </dgm:t>
    </dgm:pt>
    <dgm:pt modelId="{DF33C956-B36B-4970-9EAB-066E1A3535F4}">
      <dgm:prSet phldrT="[Text]" custT="1"/>
      <dgm:spPr>
        <a:solidFill>
          <a:schemeClr val="accent4"/>
        </a:solidFill>
      </dgm:spPr>
      <dgm:t>
        <a:bodyPr/>
        <a:lstStyle/>
        <a:p>
          <a:r>
            <a:rPr lang="en-US" sz="1100" b="1" dirty="0">
              <a:solidFill>
                <a:schemeClr val="tx1"/>
              </a:solidFill>
            </a:rPr>
            <a:t>QC Check</a:t>
          </a:r>
        </a:p>
      </dgm:t>
    </dgm:pt>
    <dgm:pt modelId="{DCB56660-8434-49AC-A171-6839D8148733}" type="sibTrans" cxnId="{65C97E73-607A-4629-B452-9691F69B1663}">
      <dgm:prSet/>
      <dgm:spPr/>
      <dgm:t>
        <a:bodyPr/>
        <a:lstStyle/>
        <a:p>
          <a:endParaRPr lang="en-US" sz="1100" b="1"/>
        </a:p>
      </dgm:t>
    </dgm:pt>
    <dgm:pt modelId="{ADA922E9-EAD1-48E2-90AD-01C852C05EBC}" type="parTrans" cxnId="{65C97E73-607A-4629-B452-9691F69B1663}">
      <dgm:prSet/>
      <dgm:spPr/>
      <dgm:t>
        <a:bodyPr/>
        <a:lstStyle/>
        <a:p>
          <a:endParaRPr lang="en-US" sz="1100" b="1"/>
        </a:p>
      </dgm:t>
    </dgm:pt>
    <dgm:pt modelId="{C2F4C827-007B-4CFC-8176-F8CAEB595BBA}">
      <dgm:prSet phldrT="[Text]" custT="1"/>
      <dgm:spPr>
        <a:solidFill>
          <a:schemeClr val="accent4"/>
        </a:solidFill>
      </dgm:spPr>
      <dgm:t>
        <a:bodyPr/>
        <a:lstStyle/>
        <a:p>
          <a:r>
            <a:rPr lang="en-US" sz="1100" b="1" dirty="0">
              <a:solidFill>
                <a:schemeClr val="tx1"/>
              </a:solidFill>
            </a:rPr>
            <a:t>Development</a:t>
          </a:r>
        </a:p>
      </dgm:t>
    </dgm:pt>
    <dgm:pt modelId="{08A9EEBF-A6AA-4B30-B90A-ABF7E2727B48}" type="sibTrans" cxnId="{D4CA84B9-58DC-4BEE-8136-3A1201983106}">
      <dgm:prSet/>
      <dgm:spPr/>
      <dgm:t>
        <a:bodyPr/>
        <a:lstStyle/>
        <a:p>
          <a:endParaRPr lang="en-US" sz="1100" b="1"/>
        </a:p>
      </dgm:t>
    </dgm:pt>
    <dgm:pt modelId="{11F04F3D-4570-4BC2-ABB7-595CFB85D6FC}" type="parTrans" cxnId="{D4CA84B9-58DC-4BEE-8136-3A1201983106}">
      <dgm:prSet/>
      <dgm:spPr/>
      <dgm:t>
        <a:bodyPr/>
        <a:lstStyle/>
        <a:p>
          <a:endParaRPr lang="en-US" sz="1100" b="1"/>
        </a:p>
      </dgm:t>
    </dgm:pt>
    <dgm:pt modelId="{CB6AECB9-C232-4A00-96EE-F6C107439684}">
      <dgm:prSet custT="1"/>
      <dgm:spPr/>
      <dgm:t>
        <a:bodyPr/>
        <a:lstStyle/>
        <a:p>
          <a:r>
            <a:rPr lang="en-US" sz="1050" b="1"/>
            <a:t>Bug resolution and customization</a:t>
          </a:r>
        </a:p>
      </dgm:t>
    </dgm:pt>
    <dgm:pt modelId="{BCDC6AB1-7E44-46FE-BBCB-1A3B25ECE10C}" type="parTrans" cxnId="{39BA05A8-ED4A-47EA-8BF7-1A5C02B1E77E}">
      <dgm:prSet/>
      <dgm:spPr/>
      <dgm:t>
        <a:bodyPr/>
        <a:lstStyle/>
        <a:p>
          <a:endParaRPr lang="en-US" sz="1100" b="1"/>
        </a:p>
      </dgm:t>
    </dgm:pt>
    <dgm:pt modelId="{27AE068B-44DB-4658-AC5A-1096BBBA9360}" type="sibTrans" cxnId="{39BA05A8-ED4A-47EA-8BF7-1A5C02B1E77E}">
      <dgm:prSet/>
      <dgm:spPr/>
      <dgm:t>
        <a:bodyPr/>
        <a:lstStyle/>
        <a:p>
          <a:endParaRPr lang="en-US" sz="1100" b="1"/>
        </a:p>
      </dgm:t>
    </dgm:pt>
    <dgm:pt modelId="{07B7B7AE-30BA-4927-B013-F934E8B4E2D1}">
      <dgm:prSet custT="1"/>
      <dgm:spPr/>
      <dgm:t>
        <a:bodyPr/>
        <a:lstStyle/>
        <a:p>
          <a:r>
            <a:rPr lang="en-US" sz="1200" b="1" dirty="0"/>
            <a:t>Project report </a:t>
          </a:r>
        </a:p>
      </dgm:t>
    </dgm:pt>
    <dgm:pt modelId="{F6EFF882-3138-4E57-8AA4-5D52E3747A0E}" type="parTrans" cxnId="{D8218FDF-732B-4074-A121-8516A02D828C}">
      <dgm:prSet/>
      <dgm:spPr/>
      <dgm:t>
        <a:bodyPr/>
        <a:lstStyle/>
        <a:p>
          <a:endParaRPr lang="en-US" sz="1600" b="1"/>
        </a:p>
      </dgm:t>
    </dgm:pt>
    <dgm:pt modelId="{25AC718B-15D7-4DC3-9821-9694961346A5}" type="sibTrans" cxnId="{D8218FDF-732B-4074-A121-8516A02D828C}">
      <dgm:prSet/>
      <dgm:spPr/>
      <dgm:t>
        <a:bodyPr/>
        <a:lstStyle/>
        <a:p>
          <a:endParaRPr lang="en-US" sz="1600" b="1"/>
        </a:p>
      </dgm:t>
    </dgm:pt>
    <dgm:pt modelId="{61E7AE9F-492C-4BF4-A8BC-D64FAD702326}" type="pres">
      <dgm:prSet presAssocID="{C9BAD13E-807E-4FCE-B971-9F540F59CE2E}" presName="Name0" presStyleCnt="0">
        <dgm:presLayoutVars>
          <dgm:dir/>
          <dgm:animLvl val="lvl"/>
          <dgm:resizeHandles val="exact"/>
        </dgm:presLayoutVars>
      </dgm:prSet>
      <dgm:spPr/>
    </dgm:pt>
    <dgm:pt modelId="{90049CA9-3D64-4213-9F47-CE61FB7959CF}" type="pres">
      <dgm:prSet presAssocID="{C2F4C827-007B-4CFC-8176-F8CAEB595BBA}" presName="parTxOnly" presStyleLbl="node1" presStyleIdx="0" presStyleCnt="7">
        <dgm:presLayoutVars>
          <dgm:chMax val="0"/>
          <dgm:chPref val="0"/>
          <dgm:bulletEnabled val="1"/>
        </dgm:presLayoutVars>
      </dgm:prSet>
      <dgm:spPr/>
    </dgm:pt>
    <dgm:pt modelId="{6D66872E-4122-478B-A19A-9A38AB70E734}" type="pres">
      <dgm:prSet presAssocID="{08A9EEBF-A6AA-4B30-B90A-ABF7E2727B48}" presName="parTxOnlySpace" presStyleCnt="0"/>
      <dgm:spPr/>
    </dgm:pt>
    <dgm:pt modelId="{FF8F7688-BCB8-445C-B545-BACC2FB4331A}" type="pres">
      <dgm:prSet presAssocID="{DF33C956-B36B-4970-9EAB-066E1A3535F4}" presName="parTxOnly" presStyleLbl="node1" presStyleIdx="1" presStyleCnt="7">
        <dgm:presLayoutVars>
          <dgm:chMax val="0"/>
          <dgm:chPref val="0"/>
          <dgm:bulletEnabled val="1"/>
        </dgm:presLayoutVars>
      </dgm:prSet>
      <dgm:spPr/>
    </dgm:pt>
    <dgm:pt modelId="{2F7ECB12-2CE4-4538-8975-4203CE4157BF}" type="pres">
      <dgm:prSet presAssocID="{DCB56660-8434-49AC-A171-6839D8148733}" presName="parTxOnlySpace" presStyleCnt="0"/>
      <dgm:spPr/>
    </dgm:pt>
    <dgm:pt modelId="{71E23080-49A2-45D9-88DB-163B99D34664}" type="pres">
      <dgm:prSet presAssocID="{BB2CEF37-19EB-4D3C-9575-24A73FC2296A}" presName="parTxOnly" presStyleLbl="node1" presStyleIdx="2" presStyleCnt="7">
        <dgm:presLayoutVars>
          <dgm:chMax val="0"/>
          <dgm:chPref val="0"/>
          <dgm:bulletEnabled val="1"/>
        </dgm:presLayoutVars>
      </dgm:prSet>
      <dgm:spPr/>
    </dgm:pt>
    <dgm:pt modelId="{B330A720-7720-4FFD-AB32-AEDA9E10C426}" type="pres">
      <dgm:prSet presAssocID="{7A5D65E4-05C6-4690-99DB-E1D1E83FC651}" presName="parTxOnlySpace" presStyleCnt="0"/>
      <dgm:spPr/>
    </dgm:pt>
    <dgm:pt modelId="{34ADCFB1-F536-46CE-8324-3835A99CDC7E}" type="pres">
      <dgm:prSet presAssocID="{7CB4D3D6-4C06-483E-9712-E94604BB8211}" presName="parTxOnly" presStyleLbl="node1" presStyleIdx="3" presStyleCnt="7" custScaleX="113253">
        <dgm:presLayoutVars>
          <dgm:chMax val="0"/>
          <dgm:chPref val="0"/>
          <dgm:bulletEnabled val="1"/>
        </dgm:presLayoutVars>
      </dgm:prSet>
      <dgm:spPr/>
    </dgm:pt>
    <dgm:pt modelId="{0D93A8C6-82ED-434E-A516-8AF71A82FDD8}" type="pres">
      <dgm:prSet presAssocID="{ED127B3E-E2C1-4444-A811-394648375C8F}" presName="parTxOnlySpace" presStyleCnt="0"/>
      <dgm:spPr/>
    </dgm:pt>
    <dgm:pt modelId="{84BC1F7E-4D6A-425D-8E31-C3477C0E52D1}" type="pres">
      <dgm:prSet presAssocID="{9D64E301-F4CE-4130-B5DF-6FEAC939C5E4}" presName="parTxOnly" presStyleLbl="node1" presStyleIdx="4" presStyleCnt="7" custScaleY="91069">
        <dgm:presLayoutVars>
          <dgm:chMax val="0"/>
          <dgm:chPref val="0"/>
          <dgm:bulletEnabled val="1"/>
        </dgm:presLayoutVars>
      </dgm:prSet>
      <dgm:spPr/>
    </dgm:pt>
    <dgm:pt modelId="{FB02CC09-64ED-429E-8715-8179E8F9AE77}" type="pres">
      <dgm:prSet presAssocID="{C9414C77-9F6A-45D4-82C4-402E1EA1C1EA}" presName="parTxOnlySpace" presStyleCnt="0"/>
      <dgm:spPr/>
    </dgm:pt>
    <dgm:pt modelId="{DE2A1520-82D9-40FF-89D3-9284E2EF43CA}" type="pres">
      <dgm:prSet presAssocID="{CB6AECB9-C232-4A00-96EE-F6C107439684}" presName="parTxOnly" presStyleLbl="node1" presStyleIdx="5" presStyleCnt="7">
        <dgm:presLayoutVars>
          <dgm:chMax val="0"/>
          <dgm:chPref val="0"/>
          <dgm:bulletEnabled val="1"/>
        </dgm:presLayoutVars>
      </dgm:prSet>
      <dgm:spPr/>
    </dgm:pt>
    <dgm:pt modelId="{43887DA2-76FD-4381-8FBF-044FF6C4FA20}" type="pres">
      <dgm:prSet presAssocID="{27AE068B-44DB-4658-AC5A-1096BBBA9360}" presName="parTxOnlySpace" presStyleCnt="0"/>
      <dgm:spPr/>
    </dgm:pt>
    <dgm:pt modelId="{19C1ABC8-3CFC-4852-B3A4-CCFBC1C25438}" type="pres">
      <dgm:prSet presAssocID="{07B7B7AE-30BA-4927-B013-F934E8B4E2D1}" presName="parTxOnly" presStyleLbl="node1" presStyleIdx="6" presStyleCnt="7">
        <dgm:presLayoutVars>
          <dgm:chMax val="0"/>
          <dgm:chPref val="0"/>
          <dgm:bulletEnabled val="1"/>
        </dgm:presLayoutVars>
      </dgm:prSet>
      <dgm:spPr/>
    </dgm:pt>
  </dgm:ptLst>
  <dgm:cxnLst>
    <dgm:cxn modelId="{D1F46B14-8E7B-48DF-BAF9-6B2C4658BA89}" srcId="{C9BAD13E-807E-4FCE-B971-9F540F59CE2E}" destId="{BB2CEF37-19EB-4D3C-9575-24A73FC2296A}" srcOrd="2" destOrd="0" parTransId="{ACB12228-A9F4-471D-87B3-D3836F5B1A40}" sibTransId="{7A5D65E4-05C6-4690-99DB-E1D1E83FC651}"/>
    <dgm:cxn modelId="{4108D31A-918C-4176-97B4-EAEB9A599433}" type="presOf" srcId="{DF33C956-B36B-4970-9EAB-066E1A3535F4}" destId="{FF8F7688-BCB8-445C-B545-BACC2FB4331A}" srcOrd="0" destOrd="0" presId="urn:microsoft.com/office/officeart/2005/8/layout/chevron1"/>
    <dgm:cxn modelId="{414CE624-9D22-4116-97C3-7BBCA3FC7DE7}" type="presOf" srcId="{7CB4D3D6-4C06-483E-9712-E94604BB8211}" destId="{34ADCFB1-F536-46CE-8324-3835A99CDC7E}" srcOrd="0" destOrd="0" presId="urn:microsoft.com/office/officeart/2005/8/layout/chevron1"/>
    <dgm:cxn modelId="{8EEC803D-3EC2-4E77-8486-9EA5F8A7CBE3}" type="presOf" srcId="{CB6AECB9-C232-4A00-96EE-F6C107439684}" destId="{DE2A1520-82D9-40FF-89D3-9284E2EF43CA}" srcOrd="0" destOrd="0" presId="urn:microsoft.com/office/officeart/2005/8/layout/chevron1"/>
    <dgm:cxn modelId="{3E3C504D-C7FB-4267-875D-9085F2E30BC9}" type="presOf" srcId="{07B7B7AE-30BA-4927-B013-F934E8B4E2D1}" destId="{19C1ABC8-3CFC-4852-B3A4-CCFBC1C25438}" srcOrd="0" destOrd="0" presId="urn:microsoft.com/office/officeart/2005/8/layout/chevron1"/>
    <dgm:cxn modelId="{65C97E73-607A-4629-B452-9691F69B1663}" srcId="{C9BAD13E-807E-4FCE-B971-9F540F59CE2E}" destId="{DF33C956-B36B-4970-9EAB-066E1A3535F4}" srcOrd="1" destOrd="0" parTransId="{ADA922E9-EAD1-48E2-90AD-01C852C05EBC}" sibTransId="{DCB56660-8434-49AC-A171-6839D8148733}"/>
    <dgm:cxn modelId="{F3A6C882-6B72-402E-BAAC-1F76F5F69EF3}" type="presOf" srcId="{C2F4C827-007B-4CFC-8176-F8CAEB595BBA}" destId="{90049CA9-3D64-4213-9F47-CE61FB7959CF}" srcOrd="0" destOrd="0" presId="urn:microsoft.com/office/officeart/2005/8/layout/chevron1"/>
    <dgm:cxn modelId="{39BA05A8-ED4A-47EA-8BF7-1A5C02B1E77E}" srcId="{C9BAD13E-807E-4FCE-B971-9F540F59CE2E}" destId="{CB6AECB9-C232-4A00-96EE-F6C107439684}" srcOrd="5" destOrd="0" parTransId="{BCDC6AB1-7E44-46FE-BBCB-1A3B25ECE10C}" sibTransId="{27AE068B-44DB-4658-AC5A-1096BBBA9360}"/>
    <dgm:cxn modelId="{F57C54B1-35D3-451F-B466-38085F34D4E2}" type="presOf" srcId="{9D64E301-F4CE-4130-B5DF-6FEAC939C5E4}" destId="{84BC1F7E-4D6A-425D-8E31-C3477C0E52D1}" srcOrd="0" destOrd="0" presId="urn:microsoft.com/office/officeart/2005/8/layout/chevron1"/>
    <dgm:cxn modelId="{D4CA84B9-58DC-4BEE-8136-3A1201983106}" srcId="{C9BAD13E-807E-4FCE-B971-9F540F59CE2E}" destId="{C2F4C827-007B-4CFC-8176-F8CAEB595BBA}" srcOrd="0" destOrd="0" parTransId="{11F04F3D-4570-4BC2-ABB7-595CFB85D6FC}" sibTransId="{08A9EEBF-A6AA-4B30-B90A-ABF7E2727B48}"/>
    <dgm:cxn modelId="{E1A100D1-5E27-4F28-9C75-64BEE4159688}" type="presOf" srcId="{BB2CEF37-19EB-4D3C-9575-24A73FC2296A}" destId="{71E23080-49A2-45D9-88DB-163B99D34664}" srcOrd="0" destOrd="0" presId="urn:microsoft.com/office/officeart/2005/8/layout/chevron1"/>
    <dgm:cxn modelId="{D8218FDF-732B-4074-A121-8516A02D828C}" srcId="{C9BAD13E-807E-4FCE-B971-9F540F59CE2E}" destId="{07B7B7AE-30BA-4927-B013-F934E8B4E2D1}" srcOrd="6" destOrd="0" parTransId="{F6EFF882-3138-4E57-8AA4-5D52E3747A0E}" sibTransId="{25AC718B-15D7-4DC3-9821-9694961346A5}"/>
    <dgm:cxn modelId="{C3498EEA-01C3-4E5E-94AE-2F2F66CF752B}" type="presOf" srcId="{C9BAD13E-807E-4FCE-B971-9F540F59CE2E}" destId="{61E7AE9F-492C-4BF4-A8BC-D64FAD702326}" srcOrd="0" destOrd="0" presId="urn:microsoft.com/office/officeart/2005/8/layout/chevron1"/>
    <dgm:cxn modelId="{D9ACBCF0-7D96-440A-8B71-0BF289C831D2}" srcId="{C9BAD13E-807E-4FCE-B971-9F540F59CE2E}" destId="{7CB4D3D6-4C06-483E-9712-E94604BB8211}" srcOrd="3" destOrd="0" parTransId="{8FA56EE9-9302-4566-AE05-0B3C9EFB6F6C}" sibTransId="{ED127B3E-E2C1-4444-A811-394648375C8F}"/>
    <dgm:cxn modelId="{5B904AF9-6A8B-4188-9C5D-DDF4A0FF1A3C}" srcId="{C9BAD13E-807E-4FCE-B971-9F540F59CE2E}" destId="{9D64E301-F4CE-4130-B5DF-6FEAC939C5E4}" srcOrd="4" destOrd="0" parTransId="{16A161ED-48FF-4C0B-944E-AF2B9866642B}" sibTransId="{C9414C77-9F6A-45D4-82C4-402E1EA1C1EA}"/>
    <dgm:cxn modelId="{1ECABFC0-E8C8-4080-8717-B607FBE194A3}" type="presParOf" srcId="{61E7AE9F-492C-4BF4-A8BC-D64FAD702326}" destId="{90049CA9-3D64-4213-9F47-CE61FB7959CF}" srcOrd="0" destOrd="0" presId="urn:microsoft.com/office/officeart/2005/8/layout/chevron1"/>
    <dgm:cxn modelId="{1F50BBFF-9A0F-48C5-A4D1-36068A583E34}" type="presParOf" srcId="{61E7AE9F-492C-4BF4-A8BC-D64FAD702326}" destId="{6D66872E-4122-478B-A19A-9A38AB70E734}" srcOrd="1" destOrd="0" presId="urn:microsoft.com/office/officeart/2005/8/layout/chevron1"/>
    <dgm:cxn modelId="{5D8EB89F-23AF-468F-AA7F-A5E39A577601}" type="presParOf" srcId="{61E7AE9F-492C-4BF4-A8BC-D64FAD702326}" destId="{FF8F7688-BCB8-445C-B545-BACC2FB4331A}" srcOrd="2" destOrd="0" presId="urn:microsoft.com/office/officeart/2005/8/layout/chevron1"/>
    <dgm:cxn modelId="{822C5C37-9090-42DD-A8D8-72586B8452A3}" type="presParOf" srcId="{61E7AE9F-492C-4BF4-A8BC-D64FAD702326}" destId="{2F7ECB12-2CE4-4538-8975-4203CE4157BF}" srcOrd="3" destOrd="0" presId="urn:microsoft.com/office/officeart/2005/8/layout/chevron1"/>
    <dgm:cxn modelId="{0AA5CC0A-7057-406C-B405-B2525097601A}" type="presParOf" srcId="{61E7AE9F-492C-4BF4-A8BC-D64FAD702326}" destId="{71E23080-49A2-45D9-88DB-163B99D34664}" srcOrd="4" destOrd="0" presId="urn:microsoft.com/office/officeart/2005/8/layout/chevron1"/>
    <dgm:cxn modelId="{E42F9602-67B1-488E-978C-267432207CA6}" type="presParOf" srcId="{61E7AE9F-492C-4BF4-A8BC-D64FAD702326}" destId="{B330A720-7720-4FFD-AB32-AEDA9E10C426}" srcOrd="5" destOrd="0" presId="urn:microsoft.com/office/officeart/2005/8/layout/chevron1"/>
    <dgm:cxn modelId="{93BF0F30-A4E1-4C31-977B-D4CF978226D7}" type="presParOf" srcId="{61E7AE9F-492C-4BF4-A8BC-D64FAD702326}" destId="{34ADCFB1-F536-46CE-8324-3835A99CDC7E}" srcOrd="6" destOrd="0" presId="urn:microsoft.com/office/officeart/2005/8/layout/chevron1"/>
    <dgm:cxn modelId="{F88F4AD0-3FA1-453A-BC23-F39729040CD0}" type="presParOf" srcId="{61E7AE9F-492C-4BF4-A8BC-D64FAD702326}" destId="{0D93A8C6-82ED-434E-A516-8AF71A82FDD8}" srcOrd="7" destOrd="0" presId="urn:microsoft.com/office/officeart/2005/8/layout/chevron1"/>
    <dgm:cxn modelId="{B056A0F6-038E-4117-94C7-5E20E6ADAC4A}" type="presParOf" srcId="{61E7AE9F-492C-4BF4-A8BC-D64FAD702326}" destId="{84BC1F7E-4D6A-425D-8E31-C3477C0E52D1}" srcOrd="8" destOrd="0" presId="urn:microsoft.com/office/officeart/2005/8/layout/chevron1"/>
    <dgm:cxn modelId="{035F3EE3-F4B3-432C-AF26-90AD81D26650}" type="presParOf" srcId="{61E7AE9F-492C-4BF4-A8BC-D64FAD702326}" destId="{FB02CC09-64ED-429E-8715-8179E8F9AE77}" srcOrd="9" destOrd="0" presId="urn:microsoft.com/office/officeart/2005/8/layout/chevron1"/>
    <dgm:cxn modelId="{9F179F92-DB58-4682-96F5-5A7C309519C9}" type="presParOf" srcId="{61E7AE9F-492C-4BF4-A8BC-D64FAD702326}" destId="{DE2A1520-82D9-40FF-89D3-9284E2EF43CA}" srcOrd="10" destOrd="0" presId="urn:microsoft.com/office/officeart/2005/8/layout/chevron1"/>
    <dgm:cxn modelId="{72773EA1-1130-400C-BE58-10F7C4CDFFF1}" type="presParOf" srcId="{61E7AE9F-492C-4BF4-A8BC-D64FAD702326}" destId="{43887DA2-76FD-4381-8FBF-044FF6C4FA20}" srcOrd="11" destOrd="0" presId="urn:microsoft.com/office/officeart/2005/8/layout/chevron1"/>
    <dgm:cxn modelId="{4E0216E3-1A8A-4136-AE3C-654BB6045FF3}" type="presParOf" srcId="{61E7AE9F-492C-4BF4-A8BC-D64FAD702326}" destId="{19C1ABC8-3CFC-4852-B3A4-CCFBC1C25438}" srcOrd="12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0049CA9-3D64-4213-9F47-CE61FB7959CF}">
      <dsp:nvSpPr>
        <dsp:cNvPr id="0" name=""/>
        <dsp:cNvSpPr/>
      </dsp:nvSpPr>
      <dsp:spPr>
        <a:xfrm>
          <a:off x="143" y="558913"/>
          <a:ext cx="1730705" cy="692282"/>
        </a:xfrm>
        <a:prstGeom prst="chevron">
          <a:avLst/>
        </a:prstGeom>
        <a:solidFill>
          <a:schemeClr val="accent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dirty="0">
              <a:solidFill>
                <a:schemeClr val="tx1"/>
              </a:solidFill>
            </a:rPr>
            <a:t>Development</a:t>
          </a:r>
        </a:p>
      </dsp:txBody>
      <dsp:txXfrm>
        <a:off x="346284" y="558913"/>
        <a:ext cx="1038423" cy="692282"/>
      </dsp:txXfrm>
    </dsp:sp>
    <dsp:sp modelId="{FF8F7688-BCB8-445C-B545-BACC2FB4331A}">
      <dsp:nvSpPr>
        <dsp:cNvPr id="0" name=""/>
        <dsp:cNvSpPr/>
      </dsp:nvSpPr>
      <dsp:spPr>
        <a:xfrm>
          <a:off x="1557777" y="558913"/>
          <a:ext cx="1730705" cy="692282"/>
        </a:xfrm>
        <a:prstGeom prst="chevron">
          <a:avLst/>
        </a:prstGeom>
        <a:solidFill>
          <a:schemeClr val="accent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dirty="0">
              <a:solidFill>
                <a:schemeClr val="tx1"/>
              </a:solidFill>
            </a:rPr>
            <a:t>QC Check</a:t>
          </a:r>
        </a:p>
      </dsp:txBody>
      <dsp:txXfrm>
        <a:off x="1903918" y="558913"/>
        <a:ext cx="1038423" cy="692282"/>
      </dsp:txXfrm>
    </dsp:sp>
    <dsp:sp modelId="{71E23080-49A2-45D9-88DB-163B99D34664}">
      <dsp:nvSpPr>
        <dsp:cNvPr id="0" name=""/>
        <dsp:cNvSpPr/>
      </dsp:nvSpPr>
      <dsp:spPr>
        <a:xfrm>
          <a:off x="3115412" y="558913"/>
          <a:ext cx="1730705" cy="692282"/>
        </a:xfrm>
        <a:prstGeom prst="chevron">
          <a:avLst/>
        </a:prstGeom>
        <a:solidFill>
          <a:schemeClr val="accent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dirty="0">
              <a:solidFill>
                <a:schemeClr val="tx1"/>
              </a:solidFill>
            </a:rPr>
            <a:t>Hosting</a:t>
          </a:r>
        </a:p>
      </dsp:txBody>
      <dsp:txXfrm>
        <a:off x="3461553" y="558913"/>
        <a:ext cx="1038423" cy="692282"/>
      </dsp:txXfrm>
    </dsp:sp>
    <dsp:sp modelId="{34ADCFB1-F536-46CE-8324-3835A99CDC7E}">
      <dsp:nvSpPr>
        <dsp:cNvPr id="0" name=""/>
        <dsp:cNvSpPr/>
      </dsp:nvSpPr>
      <dsp:spPr>
        <a:xfrm>
          <a:off x="4673047" y="558913"/>
          <a:ext cx="1960075" cy="692282"/>
        </a:xfrm>
        <a:prstGeom prst="chevron">
          <a:avLst/>
        </a:prstGeom>
        <a:solidFill>
          <a:schemeClr val="accent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dirty="0">
              <a:solidFill>
                <a:schemeClr val="tx1"/>
              </a:solidFill>
            </a:rPr>
            <a:t>Deployment and Training</a:t>
          </a:r>
        </a:p>
      </dsp:txBody>
      <dsp:txXfrm>
        <a:off x="5019188" y="558913"/>
        <a:ext cx="1267793" cy="692282"/>
      </dsp:txXfrm>
    </dsp:sp>
    <dsp:sp modelId="{84BC1F7E-4D6A-425D-8E31-C3477C0E52D1}">
      <dsp:nvSpPr>
        <dsp:cNvPr id="0" name=""/>
        <dsp:cNvSpPr/>
      </dsp:nvSpPr>
      <dsp:spPr>
        <a:xfrm>
          <a:off x="6460052" y="589827"/>
          <a:ext cx="1730705" cy="630454"/>
        </a:xfrm>
        <a:prstGeom prst="chevron">
          <a:avLst/>
        </a:prstGeom>
        <a:solidFill>
          <a:srgbClr val="7030A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dirty="0">
              <a:solidFill>
                <a:schemeClr val="bg1"/>
              </a:solidFill>
            </a:rPr>
            <a:t>Pilot </a:t>
          </a:r>
        </a:p>
      </dsp:txBody>
      <dsp:txXfrm>
        <a:off x="6775279" y="589827"/>
        <a:ext cx="1100251" cy="630454"/>
      </dsp:txXfrm>
    </dsp:sp>
    <dsp:sp modelId="{DE2A1520-82D9-40FF-89D3-9284E2EF43CA}">
      <dsp:nvSpPr>
        <dsp:cNvPr id="0" name=""/>
        <dsp:cNvSpPr/>
      </dsp:nvSpPr>
      <dsp:spPr>
        <a:xfrm>
          <a:off x="8017686" y="558913"/>
          <a:ext cx="1730705" cy="69228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b="1" kern="1200"/>
            <a:t>Bug resolution and customization</a:t>
          </a:r>
        </a:p>
      </dsp:txBody>
      <dsp:txXfrm>
        <a:off x="8363827" y="558913"/>
        <a:ext cx="1038423" cy="692282"/>
      </dsp:txXfrm>
    </dsp:sp>
    <dsp:sp modelId="{19C1ABC8-3CFC-4852-B3A4-CCFBC1C25438}">
      <dsp:nvSpPr>
        <dsp:cNvPr id="0" name=""/>
        <dsp:cNvSpPr/>
      </dsp:nvSpPr>
      <dsp:spPr>
        <a:xfrm>
          <a:off x="9575321" y="558913"/>
          <a:ext cx="1730705" cy="69228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/>
            <a:t>Project report </a:t>
          </a:r>
        </a:p>
      </dsp:txBody>
      <dsp:txXfrm>
        <a:off x="9921462" y="558913"/>
        <a:ext cx="1038423" cy="69228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400AD58B-399D-054B-9106-83359BF5E94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125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CEC1209A-37E3-104D-A696-CE56C86A59F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622925" y="0"/>
            <a:ext cx="4302125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D484AE-AF15-CA4B-999E-0CF4799BC5F7}" type="datetimeFigureOut">
              <a:rPr lang="en-GB" smtClean="0"/>
              <a:t>15/12/2023</a:t>
            </a:fld>
            <a:endParaRPr lang="en-GB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86C43993-7BA2-0E48-83A6-D0230E65863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456363"/>
            <a:ext cx="4302125" cy="3413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9D21F3FA-3EA4-8D47-A5D0-1CF3BCB659B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622925" y="6456363"/>
            <a:ext cx="4302125" cy="3413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902C6D-8DBA-E24B-AF6A-A1ECB89B139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1885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1316" cy="34004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3616" y="0"/>
            <a:ext cx="4301316" cy="34004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1926FF-3E55-475B-A653-864594870954}" type="datetimeFigureOut">
              <a:rPr lang="en-US" smtClean="0"/>
              <a:t>12/15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922588" y="849313"/>
            <a:ext cx="4081462" cy="2295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3006" y="3271517"/>
            <a:ext cx="7940628" cy="26768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457636"/>
            <a:ext cx="4301316" cy="3400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3616" y="6457636"/>
            <a:ext cx="4301316" cy="3400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B318DB-F457-434B-AF38-9C9D2D24F72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34503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B318DB-F457-434B-AF38-9C9D2D24F725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4761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B318DB-F457-434B-AF38-9C9D2D24F725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8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B318DB-F457-434B-AF38-9C9D2D24F725}" type="slidenum">
              <a:rPr lang="en-US" smtClean="0"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99372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rma libre 52">
            <a:extLst>
              <a:ext uri="{FF2B5EF4-FFF2-40B4-BE49-F238E27FC236}">
                <a16:creationId xmlns:a16="http://schemas.microsoft.com/office/drawing/2014/main" id="{588D54C6-6060-4EFD-B0A3-3A19C272912E}"/>
              </a:ext>
            </a:extLst>
          </p:cNvPr>
          <p:cNvSpPr/>
          <p:nvPr userDrawn="1"/>
        </p:nvSpPr>
        <p:spPr>
          <a:xfrm>
            <a:off x="590958" y="0"/>
            <a:ext cx="6234162" cy="4275244"/>
          </a:xfrm>
          <a:custGeom>
            <a:avLst/>
            <a:gdLst>
              <a:gd name="connsiteX0" fmla="*/ 224773 w 6234162"/>
              <a:gd name="connsiteY0" fmla="*/ 0 h 4275244"/>
              <a:gd name="connsiteX1" fmla="*/ 6009390 w 6234162"/>
              <a:gd name="connsiteY1" fmla="*/ 0 h 4275244"/>
              <a:gd name="connsiteX2" fmla="*/ 6094024 w 6234162"/>
              <a:gd name="connsiteY2" fmla="*/ 231240 h 4275244"/>
              <a:gd name="connsiteX3" fmla="*/ 6234162 w 6234162"/>
              <a:gd name="connsiteY3" fmla="*/ 1158164 h 4275244"/>
              <a:gd name="connsiteX4" fmla="*/ 3117081 w 6234162"/>
              <a:gd name="connsiteY4" fmla="*/ 4275244 h 4275244"/>
              <a:gd name="connsiteX5" fmla="*/ 0 w 6234162"/>
              <a:gd name="connsiteY5" fmla="*/ 1158164 h 4275244"/>
              <a:gd name="connsiteX6" fmla="*/ 140138 w 6234162"/>
              <a:gd name="connsiteY6" fmla="*/ 231240 h 4275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34162" h="4275244">
                <a:moveTo>
                  <a:pt x="224773" y="0"/>
                </a:moveTo>
                <a:lnTo>
                  <a:pt x="6009390" y="0"/>
                </a:lnTo>
                <a:lnTo>
                  <a:pt x="6094024" y="231240"/>
                </a:lnTo>
                <a:cubicBezTo>
                  <a:pt x="6185099" y="524055"/>
                  <a:pt x="6234162" y="835380"/>
                  <a:pt x="6234162" y="1158164"/>
                </a:cubicBezTo>
                <a:cubicBezTo>
                  <a:pt x="6234162" y="2879680"/>
                  <a:pt x="4838597" y="4275244"/>
                  <a:pt x="3117081" y="4275244"/>
                </a:cubicBezTo>
                <a:cubicBezTo>
                  <a:pt x="1395565" y="4275244"/>
                  <a:pt x="0" y="2879680"/>
                  <a:pt x="0" y="1158164"/>
                </a:cubicBezTo>
                <a:cubicBezTo>
                  <a:pt x="0" y="835380"/>
                  <a:pt x="49063" y="524055"/>
                  <a:pt x="140138" y="23124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114300" algn="ctr" rotWithShape="0">
              <a:schemeClr val="tx1">
                <a:lumMod val="85000"/>
                <a:lumOff val="15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8982829C-D174-4E44-A50A-27E2A5EF69B5}"/>
              </a:ext>
            </a:extLst>
          </p:cNvPr>
          <p:cNvSpPr/>
          <p:nvPr userDrawn="1"/>
        </p:nvSpPr>
        <p:spPr>
          <a:xfrm>
            <a:off x="596853" y="3928877"/>
            <a:ext cx="5751350" cy="2376673"/>
          </a:xfrm>
          <a:prstGeom prst="rect">
            <a:avLst/>
          </a:prstGeom>
          <a:noFill/>
          <a:ln w="12700" cap="flat" cmpd="sng" algn="ctr">
            <a:solidFill>
              <a:srgbClr val="5A2259">
                <a:alpha val="5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07725686-1765-4D39-B5F5-091C7C9289CC}"/>
              </a:ext>
            </a:extLst>
          </p:cNvPr>
          <p:cNvCxnSpPr>
            <a:cxnSpLocks/>
          </p:cNvCxnSpPr>
          <p:nvPr userDrawn="1"/>
        </p:nvCxnSpPr>
        <p:spPr>
          <a:xfrm>
            <a:off x="949601" y="5322823"/>
            <a:ext cx="0" cy="566802"/>
          </a:xfrm>
          <a:prstGeom prst="line">
            <a:avLst/>
          </a:prstGeom>
          <a:ln w="12700">
            <a:solidFill>
              <a:schemeClr val="tx2"/>
            </a:solidFill>
            <a:prstDash val="dash"/>
            <a:headEnd w="lg" len="med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ángulo 5">
            <a:extLst>
              <a:ext uri="{FF2B5EF4-FFF2-40B4-BE49-F238E27FC236}">
                <a16:creationId xmlns:a16="http://schemas.microsoft.com/office/drawing/2014/main" id="{61101015-A574-47DB-9B8C-4F865E76CCE5}"/>
              </a:ext>
            </a:extLst>
          </p:cNvPr>
          <p:cNvSpPr/>
          <p:nvPr userDrawn="1"/>
        </p:nvSpPr>
        <p:spPr>
          <a:xfrm>
            <a:off x="716255" y="3824363"/>
            <a:ext cx="5631947" cy="186377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97651F23-9E3C-466E-872B-B5FA0E91F3DD}"/>
              </a:ext>
            </a:extLst>
          </p:cNvPr>
          <p:cNvSpPr/>
          <p:nvPr userDrawn="1"/>
        </p:nvSpPr>
        <p:spPr>
          <a:xfrm>
            <a:off x="0" y="888164"/>
            <a:ext cx="243730" cy="540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6"/>
              </a:gs>
            </a:gsLst>
            <a:lin ang="5400000" scaled="1"/>
            <a:tileRect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78D57CF9-A3A0-4A36-AE0F-DA407CE9BD82}"/>
              </a:ext>
            </a:extLst>
          </p:cNvPr>
          <p:cNvSpPr/>
          <p:nvPr userDrawn="1"/>
        </p:nvSpPr>
        <p:spPr>
          <a:xfrm>
            <a:off x="0" y="6768000"/>
            <a:ext cx="12192000" cy="90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6"/>
              </a:gs>
            </a:gsLst>
            <a:lin ang="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" name="Forma libre: forma 16">
            <a:extLst>
              <a:ext uri="{FF2B5EF4-FFF2-40B4-BE49-F238E27FC236}">
                <a16:creationId xmlns:a16="http://schemas.microsoft.com/office/drawing/2014/main" id="{D22FDBD4-30A9-44A7-98A9-8439D09E051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4295778" y="0"/>
            <a:ext cx="7896225" cy="6858000"/>
          </a:xfrm>
          <a:custGeom>
            <a:avLst/>
            <a:gdLst>
              <a:gd name="connsiteX0" fmla="*/ 0 w 7896225"/>
              <a:gd name="connsiteY0" fmla="*/ 0 h 6858000"/>
              <a:gd name="connsiteX1" fmla="*/ 3429000 w 7896225"/>
              <a:gd name="connsiteY1" fmla="*/ 0 h 6858000"/>
              <a:gd name="connsiteX2" fmla="*/ 5805692 w 7896225"/>
              <a:gd name="connsiteY2" fmla="*/ 0 h 6858000"/>
              <a:gd name="connsiteX3" fmla="*/ 7896225 w 7896225"/>
              <a:gd name="connsiteY3" fmla="*/ 0 h 6858000"/>
              <a:gd name="connsiteX4" fmla="*/ 7896225 w 7896225"/>
              <a:gd name="connsiteY4" fmla="*/ 6858000 h 6858000"/>
              <a:gd name="connsiteX5" fmla="*/ 3429000 w 7896225"/>
              <a:gd name="connsiteY5" fmla="*/ 6858000 h 6858000"/>
              <a:gd name="connsiteX6" fmla="*/ 0 w 7896225"/>
              <a:gd name="connsiteY6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896225" h="6858000">
                <a:moveTo>
                  <a:pt x="0" y="0"/>
                </a:moveTo>
                <a:lnTo>
                  <a:pt x="3429000" y="0"/>
                </a:lnTo>
                <a:lnTo>
                  <a:pt x="5805692" y="0"/>
                </a:lnTo>
                <a:lnTo>
                  <a:pt x="7896225" y="0"/>
                </a:lnTo>
                <a:lnTo>
                  <a:pt x="7896225" y="6858000"/>
                </a:lnTo>
                <a:lnTo>
                  <a:pt x="3429000" y="6858000"/>
                </a:lnTo>
                <a:cubicBezTo>
                  <a:pt x="1535217" y="6858000"/>
                  <a:pt x="0" y="5322784"/>
                  <a:pt x="0" y="342900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bIns="1260000" anchor="ctr">
            <a:noAutofit/>
          </a:bodyPr>
          <a:lstStyle>
            <a:lvl1pPr algn="ctr">
              <a:defRPr sz="1800" b="1"/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23" name="Marcador de texto 21">
            <a:extLst>
              <a:ext uri="{FF2B5EF4-FFF2-40B4-BE49-F238E27FC236}">
                <a16:creationId xmlns:a16="http://schemas.microsoft.com/office/drawing/2014/main" id="{D507B8B4-E19C-479C-9DE0-7123B3377F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93521" y="5781269"/>
            <a:ext cx="3953466" cy="497069"/>
          </a:xfrm>
        </p:spPr>
        <p:txBody>
          <a:bodyPr>
            <a:normAutofit/>
          </a:bodyPr>
          <a:lstStyle>
            <a:lvl1pPr>
              <a:defRPr sz="1400" spc="100" baseline="0">
                <a:solidFill>
                  <a:srgbClr val="5A2259">
                    <a:alpha val="55000"/>
                  </a:srgbClr>
                </a:solidFill>
              </a:defRPr>
            </a:lvl1pPr>
          </a:lstStyle>
          <a:p>
            <a:pPr lvl="0"/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 </a:t>
            </a:r>
            <a:r>
              <a:rPr lang="en-US" noProof="0" dirty="0" err="1"/>
              <a:t>consectetu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endParaRPr lang="en-US" noProof="0" dirty="0"/>
          </a:p>
        </p:txBody>
      </p:sp>
      <p:sp>
        <p:nvSpPr>
          <p:cNvPr id="24" name="Título 17">
            <a:extLst>
              <a:ext uri="{FF2B5EF4-FFF2-40B4-BE49-F238E27FC236}">
                <a16:creationId xmlns:a16="http://schemas.microsoft.com/office/drawing/2014/main" id="{1DF1DE5B-FD30-4B66-8167-26428D83AF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3521" y="3986157"/>
            <a:ext cx="3132000" cy="83185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ts val="2700"/>
              </a:lnSpc>
              <a:defRPr sz="2800" b="0" cap="all" spc="300" baseline="0">
                <a:solidFill>
                  <a:srgbClr val="FFFFFF"/>
                </a:solidFill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25" name="Marcador de texto 19">
            <a:extLst>
              <a:ext uri="{FF2B5EF4-FFF2-40B4-BE49-F238E27FC236}">
                <a16:creationId xmlns:a16="http://schemas.microsoft.com/office/drawing/2014/main" id="{EB4A48CE-E482-4DB4-A38F-F21F030557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3521" y="4819207"/>
            <a:ext cx="3132000" cy="831850"/>
          </a:xfrm>
        </p:spPr>
        <p:txBody>
          <a:bodyPr>
            <a:normAutofit/>
          </a:bodyPr>
          <a:lstStyle>
            <a:lvl1pPr>
              <a:lnSpc>
                <a:spcPts val="1760"/>
              </a:lnSpc>
              <a:spcBef>
                <a:spcPts val="0"/>
              </a:spcBef>
              <a:defRPr sz="1800" b="0">
                <a:solidFill>
                  <a:srgbClr val="FFFFFF">
                    <a:alpha val="85000"/>
                  </a:srgbClr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Subtitle of presentation. </a:t>
            </a: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C8FE2267-F533-4049-A98E-29FD204DB16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650333" y="552450"/>
            <a:ext cx="2612204" cy="130610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F0BA39C-A7F8-3911-6A5D-24DC10982AB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941" y="749800"/>
            <a:ext cx="899409" cy="911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075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ángulo 18">
            <a:extLst>
              <a:ext uri="{FF2B5EF4-FFF2-40B4-BE49-F238E27FC236}">
                <a16:creationId xmlns:a16="http://schemas.microsoft.com/office/drawing/2014/main" id="{99DF4E13-A196-4A1F-982F-A79E11E60F28}"/>
              </a:ext>
            </a:extLst>
          </p:cNvPr>
          <p:cNvSpPr/>
          <p:nvPr userDrawn="1"/>
        </p:nvSpPr>
        <p:spPr>
          <a:xfrm>
            <a:off x="0" y="2502922"/>
            <a:ext cx="12192000" cy="3047327"/>
          </a:xfrm>
          <a:prstGeom prst="rect">
            <a:avLst/>
          </a:prstGeom>
          <a:solidFill>
            <a:srgbClr val="4C5B68">
              <a:alpha val="7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9A41411-D0D6-4945-9151-683D097F7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336" y="480075"/>
            <a:ext cx="9360000" cy="308122"/>
          </a:xfrm>
          <a:prstGeom prst="rect">
            <a:avLst/>
          </a:prstGeom>
        </p:spPr>
        <p:txBody>
          <a:bodyPr/>
          <a:lstStyle/>
          <a:p>
            <a:r>
              <a:rPr lang="es-ES" dirty="0"/>
              <a:t>TITLE</a:t>
            </a:r>
            <a:endParaRPr lang="en-GB" dirty="0"/>
          </a:p>
        </p:txBody>
      </p:sp>
      <p:sp>
        <p:nvSpPr>
          <p:cNvPr id="10" name="Marcador de texto 11">
            <a:extLst>
              <a:ext uri="{FF2B5EF4-FFF2-40B4-BE49-F238E27FC236}">
                <a16:creationId xmlns:a16="http://schemas.microsoft.com/office/drawing/2014/main" id="{E87E5760-A6CE-47C4-AD8C-D22944B09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4336" y="757830"/>
            <a:ext cx="10440000" cy="381159"/>
          </a:xfrm>
        </p:spPr>
        <p:txBody>
          <a:bodyPr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ITLE</a:t>
            </a:r>
          </a:p>
        </p:txBody>
      </p:sp>
      <p:sp>
        <p:nvSpPr>
          <p:cNvPr id="32" name="Marcador de texto 31">
            <a:extLst>
              <a:ext uri="{FF2B5EF4-FFF2-40B4-BE49-F238E27FC236}">
                <a16:creationId xmlns:a16="http://schemas.microsoft.com/office/drawing/2014/main" id="{12096F7E-5977-4FBA-BA7D-C1E063EACDE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28918" y="1862175"/>
            <a:ext cx="8530451" cy="532272"/>
          </a:xfrm>
        </p:spPr>
        <p:txBody>
          <a:bodyPr anchor="b"/>
          <a:lstStyle>
            <a:lvl1pPr algn="l">
              <a:defRPr sz="2000" b="1" cap="all" baseline="0">
                <a:solidFill>
                  <a:srgbClr val="43ABB6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EXT</a:t>
            </a:r>
          </a:p>
        </p:txBody>
      </p: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id="{54609F7D-AEC1-45B7-854E-FBF4BBA488C1}"/>
              </a:ext>
            </a:extLst>
          </p:cNvPr>
          <p:cNvCxnSpPr>
            <a:cxnSpLocks/>
          </p:cNvCxnSpPr>
          <p:nvPr userDrawn="1"/>
        </p:nvCxnSpPr>
        <p:spPr>
          <a:xfrm>
            <a:off x="1732610" y="1862175"/>
            <a:ext cx="0" cy="853466"/>
          </a:xfrm>
          <a:prstGeom prst="line">
            <a:avLst/>
          </a:prstGeom>
          <a:ln w="12700" cap="rnd">
            <a:solidFill>
              <a:srgbClr val="D3553F"/>
            </a:solidFill>
            <a:prstDash val="dash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867734D-077E-4843-BFC9-1D1FFC02599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28918" y="2608847"/>
            <a:ext cx="8530458" cy="2837510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400" b="0">
                <a:solidFill>
                  <a:srgbClr val="4C5B68"/>
                </a:solidFill>
              </a:defRPr>
            </a:lvl1pPr>
          </a:lstStyle>
          <a:p>
            <a:pPr lvl="0"/>
            <a:r>
              <a:rPr lang="es-E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40346321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ángulo 18">
            <a:extLst>
              <a:ext uri="{FF2B5EF4-FFF2-40B4-BE49-F238E27FC236}">
                <a16:creationId xmlns:a16="http://schemas.microsoft.com/office/drawing/2014/main" id="{99DF4E13-A196-4A1F-982F-A79E11E60F28}"/>
              </a:ext>
            </a:extLst>
          </p:cNvPr>
          <p:cNvSpPr/>
          <p:nvPr userDrawn="1"/>
        </p:nvSpPr>
        <p:spPr>
          <a:xfrm>
            <a:off x="0" y="1416744"/>
            <a:ext cx="12192000" cy="4868658"/>
          </a:xfrm>
          <a:prstGeom prst="rect">
            <a:avLst/>
          </a:prstGeom>
          <a:solidFill>
            <a:srgbClr val="D3553F">
              <a:alpha val="7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9A41411-D0D6-4945-9151-683D097F7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336" y="480075"/>
            <a:ext cx="9360000" cy="308122"/>
          </a:xfrm>
          <a:prstGeom prst="rect">
            <a:avLst/>
          </a:prstGeom>
        </p:spPr>
        <p:txBody>
          <a:bodyPr/>
          <a:lstStyle/>
          <a:p>
            <a:r>
              <a:rPr lang="es-ES" dirty="0"/>
              <a:t>TITLE</a:t>
            </a:r>
            <a:endParaRPr lang="en-GB" dirty="0"/>
          </a:p>
        </p:txBody>
      </p:sp>
      <p:sp>
        <p:nvSpPr>
          <p:cNvPr id="10" name="Marcador de texto 11">
            <a:extLst>
              <a:ext uri="{FF2B5EF4-FFF2-40B4-BE49-F238E27FC236}">
                <a16:creationId xmlns:a16="http://schemas.microsoft.com/office/drawing/2014/main" id="{E87E5760-A6CE-47C4-AD8C-D22944B09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4336" y="757830"/>
            <a:ext cx="10440000" cy="381159"/>
          </a:xfrm>
        </p:spPr>
        <p:txBody>
          <a:bodyPr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ITLE</a:t>
            </a:r>
          </a:p>
        </p:txBody>
      </p: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id="{54609F7D-AEC1-45B7-854E-FBF4BBA488C1}"/>
              </a:ext>
            </a:extLst>
          </p:cNvPr>
          <p:cNvCxnSpPr>
            <a:cxnSpLocks/>
          </p:cNvCxnSpPr>
          <p:nvPr userDrawn="1"/>
        </p:nvCxnSpPr>
        <p:spPr>
          <a:xfrm flipV="1">
            <a:off x="1412924" y="1810513"/>
            <a:ext cx="0" cy="4474889"/>
          </a:xfrm>
          <a:prstGeom prst="line">
            <a:avLst/>
          </a:prstGeom>
          <a:ln w="12700" cap="rnd">
            <a:solidFill>
              <a:srgbClr val="43ABB6"/>
            </a:solidFill>
            <a:prstDash val="dash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arcador de texto 3">
            <a:extLst>
              <a:ext uri="{FF2B5EF4-FFF2-40B4-BE49-F238E27FC236}">
                <a16:creationId xmlns:a16="http://schemas.microsoft.com/office/drawing/2014/main" id="{3974C69A-6261-7D41-967B-C63248DB01A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609231" y="1694689"/>
            <a:ext cx="9169841" cy="4321894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900"/>
              </a:spcAft>
              <a:buSzPct val="80000"/>
              <a:buFont typeface="Arial" panose="020B0604020202020204" pitchFamily="34" charset="0"/>
              <a:buNone/>
              <a:defRPr sz="1500" b="0">
                <a:solidFill>
                  <a:srgbClr val="4C5B68"/>
                </a:solidFill>
              </a:defRPr>
            </a:lvl1pPr>
            <a:lvl2pPr>
              <a:spcAft>
                <a:spcPts val="900"/>
              </a:spcAft>
              <a:buClr>
                <a:srgbClr val="D3553F"/>
              </a:buClr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2pPr>
            <a:lvl3pPr>
              <a:buClr>
                <a:srgbClr val="D3553F"/>
              </a:buClr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3pPr>
            <a:lvl4pPr>
              <a:buClr>
                <a:srgbClr val="D3553F"/>
              </a:buClr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4pPr>
            <a:lvl5pPr marL="9525" indent="0">
              <a:buClr>
                <a:srgbClr val="D3553F"/>
              </a:buClr>
              <a:buNone/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 dirty="0"/>
              <a:t>Text</a:t>
            </a:r>
          </a:p>
          <a:p>
            <a:pPr lvl="1"/>
            <a:r>
              <a:rPr lang="es-E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6113100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9A41411-D0D6-4945-9151-683D097F7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336" y="480075"/>
            <a:ext cx="9360000" cy="308122"/>
          </a:xfrm>
          <a:prstGeom prst="rect">
            <a:avLst/>
          </a:prstGeom>
        </p:spPr>
        <p:txBody>
          <a:bodyPr/>
          <a:lstStyle/>
          <a:p>
            <a:r>
              <a:rPr lang="es-ES" dirty="0"/>
              <a:t>TITLE</a:t>
            </a:r>
            <a:endParaRPr lang="en-GB" dirty="0"/>
          </a:p>
        </p:txBody>
      </p:sp>
      <p:sp>
        <p:nvSpPr>
          <p:cNvPr id="10" name="Marcador de texto 11">
            <a:extLst>
              <a:ext uri="{FF2B5EF4-FFF2-40B4-BE49-F238E27FC236}">
                <a16:creationId xmlns:a16="http://schemas.microsoft.com/office/drawing/2014/main" id="{E87E5760-A6CE-47C4-AD8C-D22944B09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4336" y="757830"/>
            <a:ext cx="10440000" cy="381159"/>
          </a:xfrm>
        </p:spPr>
        <p:txBody>
          <a:bodyPr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ITLE</a:t>
            </a:r>
          </a:p>
        </p:txBody>
      </p:sp>
      <p:sp>
        <p:nvSpPr>
          <p:cNvPr id="5" name="Marcador de tabla 4">
            <a:extLst>
              <a:ext uri="{FF2B5EF4-FFF2-40B4-BE49-F238E27FC236}">
                <a16:creationId xmlns:a16="http://schemas.microsoft.com/office/drawing/2014/main" id="{C437BADD-9329-874D-9AF5-C8C007C4977A}"/>
              </a:ext>
            </a:extLst>
          </p:cNvPr>
          <p:cNvSpPr>
            <a:spLocks noGrp="1"/>
          </p:cNvSpPr>
          <p:nvPr>
            <p:ph type="tbl" sz="quarter" idx="11" hasCustomPrompt="1"/>
          </p:nvPr>
        </p:nvSpPr>
        <p:spPr>
          <a:xfrm>
            <a:off x="1693863" y="1555147"/>
            <a:ext cx="8804275" cy="4618721"/>
          </a:xfrm>
        </p:spPr>
        <p:txBody>
          <a:bodyPr bIns="576000" anchor="ctr" anchorCtr="0"/>
          <a:lstStyle>
            <a:lvl1pPr algn="ctr">
              <a:defRPr sz="1800" b="1"/>
            </a:lvl1pPr>
          </a:lstStyle>
          <a:p>
            <a:r>
              <a:rPr lang="en-GB" dirty="0"/>
              <a:t>Table</a:t>
            </a:r>
          </a:p>
        </p:txBody>
      </p:sp>
    </p:spTree>
    <p:extLst>
      <p:ext uri="{BB962C8B-B14F-4D97-AF65-F5344CB8AC3E}">
        <p14:creationId xmlns:p14="http://schemas.microsoft.com/office/powerpoint/2010/main" val="31893779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9A41411-D0D6-4945-9151-683D097F7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336" y="480075"/>
            <a:ext cx="9360000" cy="308122"/>
          </a:xfrm>
          <a:prstGeom prst="rect">
            <a:avLst/>
          </a:prstGeom>
        </p:spPr>
        <p:txBody>
          <a:bodyPr/>
          <a:lstStyle/>
          <a:p>
            <a:r>
              <a:rPr lang="es-ES" dirty="0"/>
              <a:t>TITLE</a:t>
            </a:r>
            <a:endParaRPr lang="en-GB" dirty="0"/>
          </a:p>
        </p:txBody>
      </p:sp>
      <p:sp>
        <p:nvSpPr>
          <p:cNvPr id="10" name="Marcador de texto 11">
            <a:extLst>
              <a:ext uri="{FF2B5EF4-FFF2-40B4-BE49-F238E27FC236}">
                <a16:creationId xmlns:a16="http://schemas.microsoft.com/office/drawing/2014/main" id="{E87E5760-A6CE-47C4-AD8C-D22944B09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4336" y="757830"/>
            <a:ext cx="10440000" cy="381159"/>
          </a:xfrm>
        </p:spPr>
        <p:txBody>
          <a:bodyPr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4255100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 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28A68373-39C9-43C0-3F46-A47469EF5D0F}"/>
              </a:ext>
            </a:extLst>
          </p:cNvPr>
          <p:cNvSpPr txBox="1">
            <a:spLocks/>
          </p:cNvSpPr>
          <p:nvPr userDrawn="1"/>
        </p:nvSpPr>
        <p:spPr>
          <a:xfrm>
            <a:off x="1190341" y="227013"/>
            <a:ext cx="9461269" cy="7623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42409340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9AC789F-09AB-0B9F-DC7C-DFC0CF8CF554}"/>
              </a:ext>
            </a:extLst>
          </p:cNvPr>
          <p:cNvSpPr txBox="1">
            <a:spLocks/>
          </p:cNvSpPr>
          <p:nvPr userDrawn="1"/>
        </p:nvSpPr>
        <p:spPr>
          <a:xfrm>
            <a:off x="1190341" y="227013"/>
            <a:ext cx="9461269" cy="7623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4564756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429934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FIND -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136000" y="424343"/>
            <a:ext cx="9199395" cy="790065"/>
          </a:xfrm>
          <a:prstGeom prst="rect">
            <a:avLst/>
          </a:prstGeom>
        </p:spPr>
        <p:txBody>
          <a:bodyPr anchor="ctr" anchorCtr="0"/>
          <a:lstStyle/>
          <a:p>
            <a:r>
              <a:rPr lang="en-GB" noProof="0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noProof="0" dirty="0" err="1"/>
              <a:t>Cliquez</a:t>
            </a:r>
            <a:r>
              <a:rPr lang="en-GB" noProof="0" dirty="0"/>
              <a:t> pour modifier les styles du </a:t>
            </a:r>
            <a:r>
              <a:rPr lang="en-GB" noProof="0" dirty="0" err="1"/>
              <a:t>texte</a:t>
            </a:r>
            <a:r>
              <a:rPr lang="en-GB" noProof="0" dirty="0"/>
              <a:t> du masque</a:t>
            </a:r>
          </a:p>
          <a:p>
            <a:pPr lvl="1"/>
            <a:r>
              <a:rPr lang="en-GB" noProof="0" dirty="0" err="1"/>
              <a:t>Deuxièm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  <a:p>
            <a:pPr lvl="2"/>
            <a:r>
              <a:rPr lang="en-GB" noProof="0" dirty="0" err="1"/>
              <a:t>Troisièm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5BC644-22BB-E44D-9A3A-66E3988AB274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9871738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Imagen 29">
            <a:extLst>
              <a:ext uri="{FF2B5EF4-FFF2-40B4-BE49-F238E27FC236}">
                <a16:creationId xmlns:a16="http://schemas.microsoft.com/office/drawing/2014/main" id="{552DB941-CD81-43C2-9023-BE2DBAB950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0"/>
            <a:ext cx="8692340" cy="6858000"/>
          </a:xfrm>
          <a:prstGeom prst="rect">
            <a:avLst/>
          </a:prstGeom>
        </p:spPr>
      </p:pic>
      <p:sp>
        <p:nvSpPr>
          <p:cNvPr id="31" name="Rectángulo 30">
            <a:extLst>
              <a:ext uri="{FF2B5EF4-FFF2-40B4-BE49-F238E27FC236}">
                <a16:creationId xmlns:a16="http://schemas.microsoft.com/office/drawing/2014/main" id="{A9010316-8E0A-4F87-BC73-CAF1178827C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5A2259">
              <a:alpha val="85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Rectángulo 32">
            <a:extLst>
              <a:ext uri="{FF2B5EF4-FFF2-40B4-BE49-F238E27FC236}">
                <a16:creationId xmlns:a16="http://schemas.microsoft.com/office/drawing/2014/main" id="{CC847C2E-02D5-487A-8F06-4EE732248FE2}"/>
              </a:ext>
            </a:extLst>
          </p:cNvPr>
          <p:cNvSpPr/>
          <p:nvPr userDrawn="1"/>
        </p:nvSpPr>
        <p:spPr>
          <a:xfrm>
            <a:off x="688293" y="4750444"/>
            <a:ext cx="5751350" cy="1430306"/>
          </a:xfrm>
          <a:prstGeom prst="rect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4D2BD5A6-0B1B-40CE-AFCE-727CAF0E0697}"/>
              </a:ext>
            </a:extLst>
          </p:cNvPr>
          <p:cNvSpPr/>
          <p:nvPr userDrawn="1"/>
        </p:nvSpPr>
        <p:spPr>
          <a:xfrm>
            <a:off x="688291" y="4040040"/>
            <a:ext cx="710203" cy="71040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Rectángulo 39">
            <a:extLst>
              <a:ext uri="{FF2B5EF4-FFF2-40B4-BE49-F238E27FC236}">
                <a16:creationId xmlns:a16="http://schemas.microsoft.com/office/drawing/2014/main" id="{46C1DD1E-A1B6-433A-9308-9E804090A231}"/>
              </a:ext>
            </a:extLst>
          </p:cNvPr>
          <p:cNvSpPr/>
          <p:nvPr userDrawn="1"/>
        </p:nvSpPr>
        <p:spPr>
          <a:xfrm>
            <a:off x="0" y="6768000"/>
            <a:ext cx="12192000" cy="90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6"/>
              </a:gs>
            </a:gsLst>
            <a:lin ang="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Forma libre: forma 46">
            <a:extLst>
              <a:ext uri="{FF2B5EF4-FFF2-40B4-BE49-F238E27FC236}">
                <a16:creationId xmlns:a16="http://schemas.microsoft.com/office/drawing/2014/main" id="{8C90463E-5889-4113-BAFF-4D4CF6426B9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4295778" y="0"/>
            <a:ext cx="7896225" cy="6858000"/>
          </a:xfrm>
          <a:custGeom>
            <a:avLst/>
            <a:gdLst>
              <a:gd name="connsiteX0" fmla="*/ 536318 w 7896225"/>
              <a:gd name="connsiteY0" fmla="*/ 0 h 6858000"/>
              <a:gd name="connsiteX1" fmla="*/ 3429000 w 7896225"/>
              <a:gd name="connsiteY1" fmla="*/ 0 h 6858000"/>
              <a:gd name="connsiteX2" fmla="*/ 5805692 w 7896225"/>
              <a:gd name="connsiteY2" fmla="*/ 0 h 6858000"/>
              <a:gd name="connsiteX3" fmla="*/ 7896225 w 7896225"/>
              <a:gd name="connsiteY3" fmla="*/ 0 h 6858000"/>
              <a:gd name="connsiteX4" fmla="*/ 7896225 w 7896225"/>
              <a:gd name="connsiteY4" fmla="*/ 6858000 h 6858000"/>
              <a:gd name="connsiteX5" fmla="*/ 3429000 w 7896225"/>
              <a:gd name="connsiteY5" fmla="*/ 6858000 h 6858000"/>
              <a:gd name="connsiteX6" fmla="*/ 0 w 7896225"/>
              <a:gd name="connsiteY6" fmla="*/ 3429000 h 6858000"/>
              <a:gd name="connsiteX7" fmla="*/ 0 w 7896225"/>
              <a:gd name="connsiteY7" fmla="*/ 1578902 h 6858000"/>
              <a:gd name="connsiteX8" fmla="*/ 97443 w 7896225"/>
              <a:gd name="connsiteY8" fmla="*/ 1439219 h 6858000"/>
              <a:gd name="connsiteX9" fmla="*/ 526325 w 7896225"/>
              <a:gd name="connsiteY9" fmla="*/ 19789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896225" h="6858000">
                <a:moveTo>
                  <a:pt x="536318" y="0"/>
                </a:moveTo>
                <a:lnTo>
                  <a:pt x="3429000" y="0"/>
                </a:lnTo>
                <a:lnTo>
                  <a:pt x="5805692" y="0"/>
                </a:lnTo>
                <a:lnTo>
                  <a:pt x="7896225" y="0"/>
                </a:lnTo>
                <a:lnTo>
                  <a:pt x="7896225" y="6858000"/>
                </a:lnTo>
                <a:lnTo>
                  <a:pt x="3429000" y="6858000"/>
                </a:lnTo>
                <a:cubicBezTo>
                  <a:pt x="1535218" y="6858000"/>
                  <a:pt x="0" y="5322784"/>
                  <a:pt x="0" y="3429000"/>
                </a:cubicBezTo>
                <a:lnTo>
                  <a:pt x="0" y="1578902"/>
                </a:lnTo>
                <a:lnTo>
                  <a:pt x="97443" y="1439219"/>
                </a:lnTo>
                <a:cubicBezTo>
                  <a:pt x="329074" y="1073090"/>
                  <a:pt x="480306" y="651045"/>
                  <a:pt x="526325" y="197896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bIns="1260000" anchor="ctr">
            <a:noAutofit/>
          </a:bodyPr>
          <a:lstStyle>
            <a:lvl1pPr algn="ctr">
              <a:defRPr sz="1800" b="1"/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48" name="Forma libre: forma 47">
            <a:extLst>
              <a:ext uri="{FF2B5EF4-FFF2-40B4-BE49-F238E27FC236}">
                <a16:creationId xmlns:a16="http://schemas.microsoft.com/office/drawing/2014/main" id="{54A7AC35-48B5-49F1-9EE9-6939CC5BC3F3}"/>
              </a:ext>
            </a:extLst>
          </p:cNvPr>
          <p:cNvSpPr/>
          <p:nvPr userDrawn="1"/>
        </p:nvSpPr>
        <p:spPr>
          <a:xfrm>
            <a:off x="0" y="0"/>
            <a:ext cx="4832096" cy="2779550"/>
          </a:xfrm>
          <a:custGeom>
            <a:avLst/>
            <a:gdLst>
              <a:gd name="connsiteX0" fmla="*/ 0 w 4832096"/>
              <a:gd name="connsiteY0" fmla="*/ 0 h 2779550"/>
              <a:gd name="connsiteX1" fmla="*/ 4832096 w 4832096"/>
              <a:gd name="connsiteY1" fmla="*/ 0 h 2779550"/>
              <a:gd name="connsiteX2" fmla="*/ 4822103 w 4832096"/>
              <a:gd name="connsiteY2" fmla="*/ 197896 h 2779550"/>
              <a:gd name="connsiteX3" fmla="*/ 1961275 w 4832096"/>
              <a:gd name="connsiteY3" fmla="*/ 2779550 h 2779550"/>
              <a:gd name="connsiteX4" fmla="*/ 132079 w 4832096"/>
              <a:gd name="connsiteY4" fmla="*/ 2122886 h 2779550"/>
              <a:gd name="connsiteX5" fmla="*/ 0 w 4832096"/>
              <a:gd name="connsiteY5" fmla="*/ 2002844 h 2779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32096" h="2779550">
                <a:moveTo>
                  <a:pt x="0" y="0"/>
                </a:moveTo>
                <a:lnTo>
                  <a:pt x="4832096" y="0"/>
                </a:lnTo>
                <a:lnTo>
                  <a:pt x="4822103" y="197896"/>
                </a:lnTo>
                <a:cubicBezTo>
                  <a:pt x="4674840" y="1647972"/>
                  <a:pt x="3450204" y="2779550"/>
                  <a:pt x="1961275" y="2779550"/>
                </a:cubicBezTo>
                <a:cubicBezTo>
                  <a:pt x="1266442" y="2779550"/>
                  <a:pt x="629165" y="2533118"/>
                  <a:pt x="132079" y="2122886"/>
                </a:cubicBezTo>
                <a:lnTo>
                  <a:pt x="0" y="2002844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114300" algn="ctr" rotWithShape="0">
              <a:schemeClr val="tx1">
                <a:lumMod val="85000"/>
                <a:lumOff val="15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spc="0" normalizeH="0" baseline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Título 17">
            <a:extLst>
              <a:ext uri="{FF2B5EF4-FFF2-40B4-BE49-F238E27FC236}">
                <a16:creationId xmlns:a16="http://schemas.microsoft.com/office/drawing/2014/main" id="{BFB3B7EA-0E87-4A80-A9F2-1B7D2C2D83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0171" y="4795129"/>
            <a:ext cx="3554680" cy="1340306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3200" b="0" cap="all" spc="300" baseline="0">
                <a:solidFill>
                  <a:srgbClr val="FFFFFF"/>
                </a:solidFill>
              </a:defRPr>
            </a:lvl1pPr>
          </a:lstStyle>
          <a:p>
            <a:r>
              <a:rPr lang="en-US" noProof="0" dirty="0"/>
              <a:t>Title of chapter</a:t>
            </a:r>
          </a:p>
        </p:txBody>
      </p:sp>
      <p:sp>
        <p:nvSpPr>
          <p:cNvPr id="11" name="Marcador de texto 10">
            <a:extLst>
              <a:ext uri="{FF2B5EF4-FFF2-40B4-BE49-F238E27FC236}">
                <a16:creationId xmlns:a16="http://schemas.microsoft.com/office/drawing/2014/main" id="{788D902E-AC33-418A-A733-04BA6C5557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8287" y="3867150"/>
            <a:ext cx="710207" cy="1033950"/>
          </a:xfrm>
        </p:spPr>
        <p:txBody>
          <a:bodyPr anchor="ctr">
            <a:normAutofit/>
          </a:bodyPr>
          <a:lstStyle>
            <a:lvl1pPr algn="ctr">
              <a:defRPr sz="4400" b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s-ES" dirty="0"/>
              <a:t>#</a:t>
            </a:r>
            <a:endParaRPr lang="en-GB" dirty="0"/>
          </a:p>
        </p:txBody>
      </p:sp>
      <p:pic>
        <p:nvPicPr>
          <p:cNvPr id="51" name="Picture 2">
            <a:extLst>
              <a:ext uri="{FF2B5EF4-FFF2-40B4-BE49-F238E27FC236}">
                <a16:creationId xmlns:a16="http://schemas.microsoft.com/office/drawing/2014/main" id="{6E768F5F-F96A-4B3F-9D21-B9A9111F538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577516" y="373821"/>
            <a:ext cx="3128209" cy="1564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37690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3E4225CE-E598-4742-A9D6-30EA2C28A602}"/>
              </a:ext>
            </a:extLst>
          </p:cNvPr>
          <p:cNvCxnSpPr>
            <a:cxnSpLocks/>
          </p:cNvCxnSpPr>
          <p:nvPr userDrawn="1"/>
        </p:nvCxnSpPr>
        <p:spPr>
          <a:xfrm flipV="1">
            <a:off x="1412924" y="1810514"/>
            <a:ext cx="0" cy="4958276"/>
          </a:xfrm>
          <a:prstGeom prst="line">
            <a:avLst/>
          </a:prstGeom>
          <a:ln w="12700" cap="rnd">
            <a:solidFill>
              <a:srgbClr val="43ABB6"/>
            </a:solidFill>
            <a:prstDash val="dash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Marcador de texto 3">
            <a:extLst>
              <a:ext uri="{FF2B5EF4-FFF2-40B4-BE49-F238E27FC236}">
                <a16:creationId xmlns:a16="http://schemas.microsoft.com/office/drawing/2014/main" id="{33621167-7825-F04F-AF93-5194E0BD4BF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609231" y="1694689"/>
            <a:ext cx="9169841" cy="4321894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900"/>
              </a:spcAft>
              <a:buSzPct val="80000"/>
              <a:buFont typeface="Arial" panose="020B0604020202020204" pitchFamily="34" charset="0"/>
              <a:buNone/>
              <a:defRPr sz="1500" b="0">
                <a:solidFill>
                  <a:srgbClr val="4C5B68"/>
                </a:solidFill>
              </a:defRPr>
            </a:lvl1pPr>
            <a:lvl2pPr>
              <a:spcAft>
                <a:spcPts val="900"/>
              </a:spcAft>
              <a:buClr>
                <a:srgbClr val="D3553F"/>
              </a:buClr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2pPr>
            <a:lvl3pPr>
              <a:buClr>
                <a:srgbClr val="D3553F"/>
              </a:buClr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3pPr>
            <a:lvl4pPr>
              <a:buClr>
                <a:srgbClr val="D3553F"/>
              </a:buClr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4pPr>
            <a:lvl5pPr marL="9525" indent="0">
              <a:buClr>
                <a:srgbClr val="D3553F"/>
              </a:buClr>
              <a:buNone/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 dirty="0"/>
              <a:t>Text</a:t>
            </a:r>
          </a:p>
          <a:p>
            <a:pPr lvl="1"/>
            <a:r>
              <a:rPr lang="es-ES" dirty="0"/>
              <a:t>Text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4C8A058-D429-D1D5-423B-26A039AEACCB}"/>
              </a:ext>
            </a:extLst>
          </p:cNvPr>
          <p:cNvSpPr txBox="1">
            <a:spLocks/>
          </p:cNvSpPr>
          <p:nvPr userDrawn="1"/>
        </p:nvSpPr>
        <p:spPr>
          <a:xfrm>
            <a:off x="1190341" y="227013"/>
            <a:ext cx="9461269" cy="7623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9265871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Conector recto 3">
            <a:extLst>
              <a:ext uri="{FF2B5EF4-FFF2-40B4-BE49-F238E27FC236}">
                <a16:creationId xmlns:a16="http://schemas.microsoft.com/office/drawing/2014/main" id="{91E55553-2EC2-4940-8474-FA5FDD1E806B}"/>
              </a:ext>
            </a:extLst>
          </p:cNvPr>
          <p:cNvCxnSpPr>
            <a:cxnSpLocks/>
          </p:cNvCxnSpPr>
          <p:nvPr userDrawn="1"/>
        </p:nvCxnSpPr>
        <p:spPr>
          <a:xfrm flipV="1">
            <a:off x="1412924" y="1810514"/>
            <a:ext cx="0" cy="4958276"/>
          </a:xfrm>
          <a:prstGeom prst="line">
            <a:avLst/>
          </a:prstGeom>
          <a:ln w="12700" cap="rnd">
            <a:solidFill>
              <a:srgbClr val="43ABB6"/>
            </a:solidFill>
            <a:prstDash val="dash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Marcador de texto 3">
            <a:extLst>
              <a:ext uri="{FF2B5EF4-FFF2-40B4-BE49-F238E27FC236}">
                <a16:creationId xmlns:a16="http://schemas.microsoft.com/office/drawing/2014/main" id="{C83CD6F1-9136-9F4B-BE6E-50BB289DFC0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495425" y="1238250"/>
            <a:ext cx="9283647" cy="4778333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900"/>
              </a:spcAft>
              <a:buSzPct val="80000"/>
              <a:buFont typeface="Arial" panose="020B0604020202020204" pitchFamily="34" charset="0"/>
              <a:buNone/>
              <a:defRPr sz="2400" b="0">
                <a:solidFill>
                  <a:srgbClr val="4C5B68"/>
                </a:solidFill>
              </a:defRPr>
            </a:lvl1pPr>
            <a:lvl2pPr>
              <a:spcAft>
                <a:spcPts val="900"/>
              </a:spcAft>
              <a:buClr>
                <a:srgbClr val="D3553F"/>
              </a:buClr>
              <a:defRPr lang="es-ES" sz="20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2pPr>
            <a:lvl3pPr>
              <a:buClr>
                <a:srgbClr val="D3553F"/>
              </a:buClr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3pPr>
            <a:lvl4pPr>
              <a:buClr>
                <a:srgbClr val="D3553F"/>
              </a:buClr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4pPr>
            <a:lvl5pPr marL="9525" indent="0">
              <a:buClr>
                <a:srgbClr val="D3553F"/>
              </a:buClr>
              <a:buNone/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 dirty="0"/>
              <a:t>Text</a:t>
            </a:r>
          </a:p>
          <a:p>
            <a:pPr lvl="1"/>
            <a:r>
              <a:rPr lang="es-ES" dirty="0"/>
              <a:t>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DA0685-2107-AEAB-7B7F-1522302D125F}"/>
              </a:ext>
            </a:extLst>
          </p:cNvPr>
          <p:cNvSpPr txBox="1">
            <a:spLocks/>
          </p:cNvSpPr>
          <p:nvPr userDrawn="1"/>
        </p:nvSpPr>
        <p:spPr>
          <a:xfrm>
            <a:off x="1190341" y="227013"/>
            <a:ext cx="9461269" cy="7623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904323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458CAAC6-527E-4505-8D55-67BA35AC75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93852" y="757830"/>
            <a:ext cx="5472000" cy="381159"/>
          </a:xfrm>
        </p:spPr>
        <p:txBody>
          <a:bodyPr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ITLE</a:t>
            </a:r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F81F6864-D8D1-4F92-BE78-12A0276ADB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3852" y="480075"/>
            <a:ext cx="4212000" cy="308122"/>
          </a:xfrm>
          <a:prstGeom prst="rect">
            <a:avLst/>
          </a:prstGeom>
        </p:spPr>
        <p:txBody>
          <a:bodyPr anchor="b"/>
          <a:lstStyle/>
          <a:p>
            <a:r>
              <a:rPr lang="es-ES" dirty="0"/>
              <a:t>TITLE</a:t>
            </a:r>
            <a:endParaRPr lang="en-GB" dirty="0"/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62D147B5-EDB7-42AC-A836-CF89249A01FD}"/>
              </a:ext>
            </a:extLst>
          </p:cNvPr>
          <p:cNvSpPr/>
          <p:nvPr userDrawn="1"/>
        </p:nvSpPr>
        <p:spPr>
          <a:xfrm>
            <a:off x="0" y="1431234"/>
            <a:ext cx="12192000" cy="4784035"/>
          </a:xfrm>
          <a:prstGeom prst="rect">
            <a:avLst/>
          </a:prstGeom>
          <a:solidFill>
            <a:srgbClr val="8C9EAB">
              <a:alpha val="1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5" name="Forma libre: forma 34">
            <a:extLst>
              <a:ext uri="{FF2B5EF4-FFF2-40B4-BE49-F238E27FC236}">
                <a16:creationId xmlns:a16="http://schemas.microsoft.com/office/drawing/2014/main" id="{D552286A-F49C-42E7-A348-ADA9AC8D58BD}"/>
              </a:ext>
            </a:extLst>
          </p:cNvPr>
          <p:cNvSpPr/>
          <p:nvPr userDrawn="1"/>
        </p:nvSpPr>
        <p:spPr>
          <a:xfrm flipH="1">
            <a:off x="0" y="-48126"/>
            <a:ext cx="5534526" cy="6906124"/>
          </a:xfrm>
          <a:custGeom>
            <a:avLst/>
            <a:gdLst>
              <a:gd name="connsiteX0" fmla="*/ 1135685 w 5404022"/>
              <a:gd name="connsiteY0" fmla="*/ 0 h 6857998"/>
              <a:gd name="connsiteX1" fmla="*/ 5404022 w 5404022"/>
              <a:gd name="connsiteY1" fmla="*/ 0 h 6857998"/>
              <a:gd name="connsiteX2" fmla="*/ 5404022 w 5404022"/>
              <a:gd name="connsiteY2" fmla="*/ 6857998 h 6857998"/>
              <a:gd name="connsiteX3" fmla="*/ 2689453 w 5404022"/>
              <a:gd name="connsiteY3" fmla="*/ 6857998 h 6857998"/>
              <a:gd name="connsiteX4" fmla="*/ 2607100 w 5404022"/>
              <a:gd name="connsiteY4" fmla="*/ 6825527 h 6857998"/>
              <a:gd name="connsiteX5" fmla="*/ 0 w 5404022"/>
              <a:gd name="connsiteY5" fmla="*/ 2892328 h 6857998"/>
              <a:gd name="connsiteX6" fmla="*/ 974753 w 5404022"/>
              <a:gd name="connsiteY6" fmla="*/ 177070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04022" h="6857998">
                <a:moveTo>
                  <a:pt x="1135685" y="0"/>
                </a:moveTo>
                <a:lnTo>
                  <a:pt x="5404022" y="0"/>
                </a:lnTo>
                <a:lnTo>
                  <a:pt x="5404022" y="6857998"/>
                </a:lnTo>
                <a:lnTo>
                  <a:pt x="2689453" y="6857998"/>
                </a:lnTo>
                <a:lnTo>
                  <a:pt x="2607100" y="6825527"/>
                </a:lnTo>
                <a:cubicBezTo>
                  <a:pt x="1075017" y="6177511"/>
                  <a:pt x="0" y="4660461"/>
                  <a:pt x="0" y="2892328"/>
                </a:cubicBezTo>
                <a:cubicBezTo>
                  <a:pt x="0" y="1860918"/>
                  <a:pt x="365805" y="914944"/>
                  <a:pt x="974753" y="177070"/>
                </a:cubicBezTo>
                <a:close/>
              </a:path>
            </a:pathLst>
          </a:custGeom>
          <a:noFill/>
          <a:ln w="12700">
            <a:gradFill>
              <a:gsLst>
                <a:gs pos="0">
                  <a:schemeClr val="accent6"/>
                </a:gs>
                <a:gs pos="100000">
                  <a:srgbClr val="43ABB6"/>
                </a:gs>
              </a:gsLst>
              <a:lin ang="5400000" scaled="1"/>
            </a:gradFill>
          </a:ln>
          <a:effectLst>
            <a:outerShdw blurRad="114300" dist="38100" dir="360000" algn="tl" rotWithShape="0">
              <a:prstClr val="black">
                <a:alpha val="13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100" normalizeH="0" baseline="0" noProof="0" dirty="0" err="1">
              <a:ln>
                <a:noFill/>
              </a:ln>
              <a:solidFill>
                <a:srgbClr val="4C5B6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5B692206-0B17-49CA-9101-C1F4D690BD5C}"/>
              </a:ext>
            </a:extLst>
          </p:cNvPr>
          <p:cNvSpPr txBox="1">
            <a:spLocks/>
          </p:cNvSpPr>
          <p:nvPr userDrawn="1"/>
        </p:nvSpPr>
        <p:spPr>
          <a:xfrm>
            <a:off x="560753" y="6483356"/>
            <a:ext cx="234462" cy="13335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4D992F-7007-473D-9CAC-8B17A67E3C5E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5A22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5A225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Rectángulo redondeado 97">
            <a:extLst>
              <a:ext uri="{FF2B5EF4-FFF2-40B4-BE49-F238E27FC236}">
                <a16:creationId xmlns:a16="http://schemas.microsoft.com/office/drawing/2014/main" id="{8BD2B99C-EA8C-48D9-AF37-F29645618C28}"/>
              </a:ext>
            </a:extLst>
          </p:cNvPr>
          <p:cNvSpPr/>
          <p:nvPr userDrawn="1"/>
        </p:nvSpPr>
        <p:spPr>
          <a:xfrm>
            <a:off x="6192252" y="1782026"/>
            <a:ext cx="5037221" cy="4317857"/>
          </a:xfrm>
          <a:prstGeom prst="roundRect">
            <a:avLst>
              <a:gd name="adj" fmla="val 6244"/>
            </a:avLst>
          </a:prstGeom>
          <a:noFill/>
          <a:ln w="12700">
            <a:solidFill>
              <a:schemeClr val="accent6"/>
            </a:solidFill>
          </a:ln>
          <a:effectLst>
            <a:outerShdw blurRad="114300" dist="38100" dir="360000" algn="tl" rotWithShape="0">
              <a:prstClr val="black">
                <a:alpha val="13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08000" bIns="0" rtlCol="0" anchor="t"/>
          <a:lstStyle/>
          <a:p>
            <a:pPr marL="0" marR="0" lvl="0" indent="0" algn="ctr" defTabSz="4572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100" normalizeH="0" baseline="0" noProof="0" dirty="0">
              <a:ln>
                <a:noFill/>
              </a:ln>
              <a:solidFill>
                <a:srgbClr val="4C5B6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9" name="Rectángulo redondeado 71">
            <a:extLst>
              <a:ext uri="{FF2B5EF4-FFF2-40B4-BE49-F238E27FC236}">
                <a16:creationId xmlns:a16="http://schemas.microsoft.com/office/drawing/2014/main" id="{DFC4FC1E-20C6-4661-A371-E1E4034827F7}"/>
              </a:ext>
            </a:extLst>
          </p:cNvPr>
          <p:cNvSpPr/>
          <p:nvPr userDrawn="1"/>
        </p:nvSpPr>
        <p:spPr>
          <a:xfrm>
            <a:off x="6318437" y="1540560"/>
            <a:ext cx="5041525" cy="4498759"/>
          </a:xfrm>
          <a:prstGeom prst="roundRect">
            <a:avLst>
              <a:gd name="adj" fmla="val 5891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08000" bIns="0" rtlCol="0" anchor="ctr"/>
          <a:lstStyle/>
          <a:p>
            <a:pPr lvl="0" defTabSz="457200">
              <a:lnSpc>
                <a:spcPts val="1620"/>
              </a:lnSpc>
              <a:buSzPct val="100000"/>
              <a:buFont typeface="Trebuchet MS" panose="020B0603020202020204" pitchFamily="34" charset="0"/>
              <a:buChar char="​"/>
              <a:defRPr/>
            </a:pPr>
            <a:endParaRPr lang="en-US" sz="1200" spc="100" dirty="0">
              <a:solidFill>
                <a:srgbClr val="4C5B6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Forma libre: forma 80">
            <a:extLst>
              <a:ext uri="{FF2B5EF4-FFF2-40B4-BE49-F238E27FC236}">
                <a16:creationId xmlns:a16="http://schemas.microsoft.com/office/drawing/2014/main" id="{47C4454F-FE9E-4768-923A-E5429EA367F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auto">
          <a:xfrm>
            <a:off x="1" y="2"/>
            <a:ext cx="5404021" cy="6857998"/>
          </a:xfrm>
          <a:custGeom>
            <a:avLst/>
            <a:gdLst>
              <a:gd name="connsiteX0" fmla="*/ 0 w 5404021"/>
              <a:gd name="connsiteY0" fmla="*/ 0 h 6857998"/>
              <a:gd name="connsiteX1" fmla="*/ 4268336 w 5404021"/>
              <a:gd name="connsiteY1" fmla="*/ 0 h 6857998"/>
              <a:gd name="connsiteX2" fmla="*/ 4429268 w 5404021"/>
              <a:gd name="connsiteY2" fmla="*/ 177070 h 6857998"/>
              <a:gd name="connsiteX3" fmla="*/ 5404021 w 5404021"/>
              <a:gd name="connsiteY3" fmla="*/ 2892328 h 6857998"/>
              <a:gd name="connsiteX4" fmla="*/ 2796921 w 5404021"/>
              <a:gd name="connsiteY4" fmla="*/ 6825527 h 6857998"/>
              <a:gd name="connsiteX5" fmla="*/ 2714568 w 5404021"/>
              <a:gd name="connsiteY5" fmla="*/ 6857998 h 6857998"/>
              <a:gd name="connsiteX6" fmla="*/ 0 w 5404021"/>
              <a:gd name="connsiteY6" fmla="*/ 6857998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04021" h="6857998">
                <a:moveTo>
                  <a:pt x="0" y="0"/>
                </a:moveTo>
                <a:lnTo>
                  <a:pt x="4268336" y="0"/>
                </a:lnTo>
                <a:lnTo>
                  <a:pt x="4429268" y="177070"/>
                </a:lnTo>
                <a:cubicBezTo>
                  <a:pt x="5038216" y="914944"/>
                  <a:pt x="5404021" y="1860918"/>
                  <a:pt x="5404021" y="2892328"/>
                </a:cubicBezTo>
                <a:cubicBezTo>
                  <a:pt x="5404021" y="4660461"/>
                  <a:pt x="4329004" y="6177511"/>
                  <a:pt x="2796921" y="6825527"/>
                </a:cubicBezTo>
                <a:lnTo>
                  <a:pt x="2714568" y="6857998"/>
                </a:lnTo>
                <a:lnTo>
                  <a:pt x="0" y="6857998"/>
                </a:ln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</p:spPr>
        <p:txBody>
          <a:bodyPr wrap="square" bIns="1260000" anchor="ctr">
            <a:noAutofit/>
          </a:bodyPr>
          <a:lstStyle>
            <a:lvl1pPr algn="ctr">
              <a:defRPr sz="1800" b="1"/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76299E4-19BE-F24A-85E8-7BE02A89B4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13536" y="1782024"/>
            <a:ext cx="4251325" cy="4025051"/>
          </a:xfrm>
        </p:spPr>
        <p:txBody>
          <a:bodyPr anchor="ctr"/>
          <a:lstStyle/>
          <a:p>
            <a:pPr lvl="0"/>
            <a:r>
              <a:rPr lang="es-ES" dirty="0"/>
              <a:t>Text</a:t>
            </a:r>
          </a:p>
          <a:p>
            <a:pPr lvl="1"/>
            <a:r>
              <a:rPr lang="es-ES" dirty="0"/>
              <a:t>Text</a:t>
            </a:r>
          </a:p>
          <a:p>
            <a:pPr lvl="2"/>
            <a:r>
              <a:rPr lang="es-ES" dirty="0"/>
              <a:t>Text</a:t>
            </a:r>
          </a:p>
          <a:p>
            <a:pPr lvl="3"/>
            <a:r>
              <a:rPr lang="es-ES" dirty="0"/>
              <a:t>Text</a:t>
            </a:r>
          </a:p>
          <a:p>
            <a:pPr lvl="4"/>
            <a:r>
              <a:rPr lang="es-ES" dirty="0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52499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>
            <a:extLst>
              <a:ext uri="{FF2B5EF4-FFF2-40B4-BE49-F238E27FC236}">
                <a16:creationId xmlns:a16="http://schemas.microsoft.com/office/drawing/2014/main" id="{A3E05040-690F-4E98-983D-25960FB4DB04}"/>
              </a:ext>
            </a:extLst>
          </p:cNvPr>
          <p:cNvSpPr/>
          <p:nvPr userDrawn="1"/>
        </p:nvSpPr>
        <p:spPr>
          <a:xfrm>
            <a:off x="0" y="2356482"/>
            <a:ext cx="12192000" cy="2767101"/>
          </a:xfrm>
          <a:prstGeom prst="rect">
            <a:avLst/>
          </a:prstGeom>
          <a:solidFill>
            <a:srgbClr val="43ABB6">
              <a:alpha val="1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4" name="Rectángulo redondeado 97">
            <a:extLst>
              <a:ext uri="{FF2B5EF4-FFF2-40B4-BE49-F238E27FC236}">
                <a16:creationId xmlns:a16="http://schemas.microsoft.com/office/drawing/2014/main" id="{A4FB5D33-F707-4355-AA51-EC4F3740E118}"/>
              </a:ext>
            </a:extLst>
          </p:cNvPr>
          <p:cNvSpPr/>
          <p:nvPr userDrawn="1"/>
        </p:nvSpPr>
        <p:spPr>
          <a:xfrm>
            <a:off x="547687" y="1799704"/>
            <a:ext cx="6742091" cy="3932907"/>
          </a:xfrm>
          <a:prstGeom prst="roundRect">
            <a:avLst>
              <a:gd name="adj" fmla="val 7562"/>
            </a:avLst>
          </a:prstGeom>
          <a:solidFill>
            <a:schemeClr val="bg1"/>
          </a:solidFill>
          <a:ln w="12700" cap="flat" cmpd="sng" algn="ctr">
            <a:solidFill>
              <a:srgbClr val="5A2259"/>
            </a:solidFill>
            <a:prstDash val="solid"/>
          </a:ln>
          <a:effectLst/>
        </p:spPr>
        <p:txBody>
          <a:bodyPr tIns="108000" rtlCol="0" anchor="t"/>
          <a:lstStyle/>
          <a:p>
            <a:pPr marL="0" marR="0" lvl="0" indent="0" algn="ctr" defTabSz="4572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100" normalizeH="0" baseline="0" noProof="0" dirty="0">
              <a:ln>
                <a:noFill/>
              </a:ln>
              <a:solidFill>
                <a:srgbClr val="4C5B68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Rectángulo redondeado 97">
            <a:extLst>
              <a:ext uri="{FF2B5EF4-FFF2-40B4-BE49-F238E27FC236}">
                <a16:creationId xmlns:a16="http://schemas.microsoft.com/office/drawing/2014/main" id="{E3565CBD-7499-40D0-9DA8-6DD1FCE4337E}"/>
              </a:ext>
            </a:extLst>
          </p:cNvPr>
          <p:cNvSpPr/>
          <p:nvPr userDrawn="1"/>
        </p:nvSpPr>
        <p:spPr>
          <a:xfrm>
            <a:off x="8047531" y="1799704"/>
            <a:ext cx="3634804" cy="3932907"/>
          </a:xfrm>
          <a:prstGeom prst="roundRect">
            <a:avLst>
              <a:gd name="adj" fmla="val 10838"/>
            </a:avLst>
          </a:prstGeom>
          <a:noFill/>
          <a:ln w="12700" cap="flat" cmpd="sng" algn="ctr">
            <a:solidFill>
              <a:srgbClr val="D3553F"/>
            </a:solidFill>
            <a:prstDash val="solid"/>
          </a:ln>
          <a:effectLst/>
        </p:spPr>
        <p:txBody>
          <a:bodyPr tIns="108000" rtlCol="0" anchor="t"/>
          <a:lstStyle/>
          <a:p>
            <a:pPr marL="0" marR="0" lvl="0" indent="0" algn="ctr" defTabSz="4572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100" normalizeH="0" baseline="0" noProof="0" dirty="0">
              <a:ln>
                <a:noFill/>
              </a:ln>
              <a:solidFill>
                <a:srgbClr val="4C5B68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Rectángulo redondeado 71">
            <a:extLst>
              <a:ext uri="{FF2B5EF4-FFF2-40B4-BE49-F238E27FC236}">
                <a16:creationId xmlns:a16="http://schemas.microsoft.com/office/drawing/2014/main" id="{56891ED6-134D-4226-83F8-62C6B3B2AC08}"/>
              </a:ext>
            </a:extLst>
          </p:cNvPr>
          <p:cNvSpPr/>
          <p:nvPr userDrawn="1"/>
        </p:nvSpPr>
        <p:spPr>
          <a:xfrm>
            <a:off x="8180512" y="1540560"/>
            <a:ext cx="3368842" cy="4042093"/>
          </a:xfrm>
          <a:prstGeom prst="roundRect">
            <a:avLst>
              <a:gd name="adj" fmla="val 5891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08000" bIns="0" rtlCol="0" anchor="ctr"/>
          <a:lstStyle/>
          <a:p>
            <a:pPr lvl="0" defTabSz="457200">
              <a:lnSpc>
                <a:spcPts val="1620"/>
              </a:lnSpc>
              <a:buSzPct val="100000"/>
              <a:buFont typeface="Trebuchet MS" panose="020B0603020202020204" pitchFamily="34" charset="0"/>
              <a:buChar char="​"/>
              <a:defRPr/>
            </a:pPr>
            <a:endParaRPr lang="en-US" sz="1200" spc="100" dirty="0">
              <a:solidFill>
                <a:srgbClr val="4C5B6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Marcador de texto 81">
            <a:extLst>
              <a:ext uri="{FF2B5EF4-FFF2-40B4-BE49-F238E27FC236}">
                <a16:creationId xmlns:a16="http://schemas.microsoft.com/office/drawing/2014/main" id="{A85BC50F-C04E-4C6C-9A65-8EC3959EC3F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444526" y="2163977"/>
            <a:ext cx="2840815" cy="3418675"/>
          </a:xfrm>
        </p:spPr>
        <p:txBody>
          <a:bodyPr/>
          <a:lstStyle/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14" name="Marcador de texto 13">
            <a:extLst>
              <a:ext uri="{FF2B5EF4-FFF2-40B4-BE49-F238E27FC236}">
                <a16:creationId xmlns:a16="http://schemas.microsoft.com/office/drawing/2014/main" id="{D01248E3-331A-4B7C-9881-6C59AC7A16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43913" y="1703451"/>
            <a:ext cx="2841428" cy="318021"/>
          </a:xfrm>
        </p:spPr>
        <p:txBody>
          <a:bodyPr anchor="b"/>
          <a:lstStyle>
            <a:lvl1pPr>
              <a:defRPr sz="1600">
                <a:solidFill>
                  <a:srgbClr val="D3553F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Lorem ipsum dolor</a:t>
            </a:r>
          </a:p>
        </p:txBody>
      </p:sp>
      <p:sp>
        <p:nvSpPr>
          <p:cNvPr id="17" name="Marcador de texto 16">
            <a:extLst>
              <a:ext uri="{FF2B5EF4-FFF2-40B4-BE49-F238E27FC236}">
                <a16:creationId xmlns:a16="http://schemas.microsoft.com/office/drawing/2014/main" id="{6FACE4DA-5C7C-4067-806E-D42EC9705F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6237" y="1603793"/>
            <a:ext cx="6264000" cy="243541"/>
          </a:xfrm>
        </p:spPr>
        <p:txBody>
          <a:bodyPr/>
          <a:lstStyle>
            <a:lvl1pPr>
              <a:defRPr sz="1600" b="1" cap="all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itle of graph</a:t>
            </a:r>
          </a:p>
        </p:txBody>
      </p:sp>
      <p:sp>
        <p:nvSpPr>
          <p:cNvPr id="19" name="Marcador de texto 18">
            <a:extLst>
              <a:ext uri="{FF2B5EF4-FFF2-40B4-BE49-F238E27FC236}">
                <a16:creationId xmlns:a16="http://schemas.microsoft.com/office/drawing/2014/main" id="{A59B49E9-588F-4C57-B690-EEC2204E76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6237" y="5790951"/>
            <a:ext cx="6264000" cy="550125"/>
          </a:xfrm>
        </p:spPr>
        <p:txBody>
          <a:bodyPr/>
          <a:lstStyle>
            <a:lvl1pPr>
              <a:defRPr sz="900" i="1">
                <a:solidFill>
                  <a:srgbClr val="8C9EAB"/>
                </a:solidFill>
              </a:defRPr>
            </a:lvl1pPr>
          </a:lstStyle>
          <a:p>
            <a:pPr lvl="0"/>
            <a:r>
              <a:rPr lang="en-US" noProof="0"/>
              <a:t>Graph notes</a:t>
            </a:r>
          </a:p>
        </p:txBody>
      </p:sp>
      <p:sp>
        <p:nvSpPr>
          <p:cNvPr id="21" name="Marcador de gráfico 20">
            <a:extLst>
              <a:ext uri="{FF2B5EF4-FFF2-40B4-BE49-F238E27FC236}">
                <a16:creationId xmlns:a16="http://schemas.microsoft.com/office/drawing/2014/main" id="{591C2347-0AE4-4827-A0BB-15C7D78BDFA0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746125" y="2020888"/>
            <a:ext cx="6264275" cy="3562350"/>
          </a:xfrm>
        </p:spPr>
        <p:txBody>
          <a:bodyPr bIns="1260000" anchor="ctr"/>
          <a:lstStyle>
            <a:lvl1pPr algn="ctr">
              <a:defRPr sz="1800" b="1"/>
            </a:lvl1pPr>
          </a:lstStyle>
          <a:p>
            <a:r>
              <a:rPr lang="en-GB" dirty="0"/>
              <a:t>Graph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4CA282D-964C-1224-599C-4EE697C576FA}"/>
              </a:ext>
            </a:extLst>
          </p:cNvPr>
          <p:cNvSpPr txBox="1">
            <a:spLocks/>
          </p:cNvSpPr>
          <p:nvPr userDrawn="1"/>
        </p:nvSpPr>
        <p:spPr>
          <a:xfrm>
            <a:off x="1190341" y="227013"/>
            <a:ext cx="9461269" cy="7623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9856898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>
            <a:extLst>
              <a:ext uri="{FF2B5EF4-FFF2-40B4-BE49-F238E27FC236}">
                <a16:creationId xmlns:a16="http://schemas.microsoft.com/office/drawing/2014/main" id="{A3E05040-690F-4E98-983D-25960FB4DB04}"/>
              </a:ext>
            </a:extLst>
          </p:cNvPr>
          <p:cNvSpPr/>
          <p:nvPr userDrawn="1"/>
        </p:nvSpPr>
        <p:spPr>
          <a:xfrm>
            <a:off x="0" y="2356482"/>
            <a:ext cx="12192000" cy="2767101"/>
          </a:xfrm>
          <a:prstGeom prst="rect">
            <a:avLst/>
          </a:prstGeom>
          <a:solidFill>
            <a:srgbClr val="43ABB6">
              <a:alpha val="1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4" name="Rectángulo redondeado 97">
            <a:extLst>
              <a:ext uri="{FF2B5EF4-FFF2-40B4-BE49-F238E27FC236}">
                <a16:creationId xmlns:a16="http://schemas.microsoft.com/office/drawing/2014/main" id="{A4FB5D33-F707-4355-AA51-EC4F3740E118}"/>
              </a:ext>
            </a:extLst>
          </p:cNvPr>
          <p:cNvSpPr/>
          <p:nvPr userDrawn="1"/>
        </p:nvSpPr>
        <p:spPr>
          <a:xfrm>
            <a:off x="547687" y="1799704"/>
            <a:ext cx="6742091" cy="3932907"/>
          </a:xfrm>
          <a:prstGeom prst="roundRect">
            <a:avLst>
              <a:gd name="adj" fmla="val 7562"/>
            </a:avLst>
          </a:prstGeom>
          <a:solidFill>
            <a:schemeClr val="bg1"/>
          </a:solidFill>
          <a:ln w="12700" cap="flat" cmpd="sng" algn="ctr">
            <a:solidFill>
              <a:srgbClr val="5A2259"/>
            </a:solidFill>
            <a:prstDash val="solid"/>
          </a:ln>
          <a:effectLst/>
        </p:spPr>
        <p:txBody>
          <a:bodyPr tIns="108000" rtlCol="0" anchor="t"/>
          <a:lstStyle/>
          <a:p>
            <a:pPr marL="0" marR="0" lvl="0" indent="0" algn="ctr" defTabSz="4572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100" normalizeH="0" baseline="0" noProof="0" dirty="0">
              <a:ln>
                <a:noFill/>
              </a:ln>
              <a:solidFill>
                <a:srgbClr val="4C5B68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Rectángulo redondeado 97">
            <a:extLst>
              <a:ext uri="{FF2B5EF4-FFF2-40B4-BE49-F238E27FC236}">
                <a16:creationId xmlns:a16="http://schemas.microsoft.com/office/drawing/2014/main" id="{E3565CBD-7499-40D0-9DA8-6DD1FCE4337E}"/>
              </a:ext>
            </a:extLst>
          </p:cNvPr>
          <p:cNvSpPr/>
          <p:nvPr userDrawn="1"/>
        </p:nvSpPr>
        <p:spPr>
          <a:xfrm>
            <a:off x="8047531" y="1799704"/>
            <a:ext cx="3634804" cy="3932907"/>
          </a:xfrm>
          <a:prstGeom prst="roundRect">
            <a:avLst>
              <a:gd name="adj" fmla="val 10838"/>
            </a:avLst>
          </a:prstGeom>
          <a:noFill/>
          <a:ln w="12700" cap="flat" cmpd="sng" algn="ctr">
            <a:solidFill>
              <a:srgbClr val="D3553F"/>
            </a:solidFill>
            <a:prstDash val="solid"/>
          </a:ln>
          <a:effectLst/>
        </p:spPr>
        <p:txBody>
          <a:bodyPr tIns="108000" rtlCol="0" anchor="t"/>
          <a:lstStyle/>
          <a:p>
            <a:pPr marL="0" marR="0" lvl="0" indent="0" algn="ctr" defTabSz="4572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100" normalizeH="0" baseline="0" noProof="0" dirty="0">
              <a:ln>
                <a:noFill/>
              </a:ln>
              <a:solidFill>
                <a:srgbClr val="4C5B68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Rectángulo redondeado 71">
            <a:extLst>
              <a:ext uri="{FF2B5EF4-FFF2-40B4-BE49-F238E27FC236}">
                <a16:creationId xmlns:a16="http://schemas.microsoft.com/office/drawing/2014/main" id="{56891ED6-134D-4226-83F8-62C6B3B2AC08}"/>
              </a:ext>
            </a:extLst>
          </p:cNvPr>
          <p:cNvSpPr/>
          <p:nvPr userDrawn="1"/>
        </p:nvSpPr>
        <p:spPr>
          <a:xfrm>
            <a:off x="8180512" y="1540560"/>
            <a:ext cx="3368842" cy="4042093"/>
          </a:xfrm>
          <a:prstGeom prst="roundRect">
            <a:avLst>
              <a:gd name="adj" fmla="val 5891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08000" bIns="0" rtlCol="0" anchor="ctr"/>
          <a:lstStyle/>
          <a:p>
            <a:pPr lvl="0" defTabSz="457200">
              <a:lnSpc>
                <a:spcPts val="1620"/>
              </a:lnSpc>
              <a:buSzPct val="100000"/>
              <a:buFont typeface="Trebuchet MS" panose="020B0603020202020204" pitchFamily="34" charset="0"/>
              <a:buChar char="​"/>
              <a:defRPr/>
            </a:pPr>
            <a:endParaRPr lang="en-US" sz="1200" spc="100" dirty="0">
              <a:solidFill>
                <a:srgbClr val="4C5B6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Marcador de texto 81">
            <a:extLst>
              <a:ext uri="{FF2B5EF4-FFF2-40B4-BE49-F238E27FC236}">
                <a16:creationId xmlns:a16="http://schemas.microsoft.com/office/drawing/2014/main" id="{A85BC50F-C04E-4C6C-9A65-8EC3959EC3F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444526" y="2163977"/>
            <a:ext cx="2840815" cy="3418675"/>
          </a:xfrm>
        </p:spPr>
        <p:txBody>
          <a:bodyPr/>
          <a:lstStyle/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14" name="Marcador de texto 13">
            <a:extLst>
              <a:ext uri="{FF2B5EF4-FFF2-40B4-BE49-F238E27FC236}">
                <a16:creationId xmlns:a16="http://schemas.microsoft.com/office/drawing/2014/main" id="{D01248E3-331A-4B7C-9881-6C59AC7A16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43913" y="1703451"/>
            <a:ext cx="2841428" cy="318021"/>
          </a:xfrm>
        </p:spPr>
        <p:txBody>
          <a:bodyPr anchor="b"/>
          <a:lstStyle>
            <a:lvl1pPr>
              <a:defRPr sz="1600">
                <a:solidFill>
                  <a:srgbClr val="D3553F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Lorem ipsum dolor</a:t>
            </a:r>
          </a:p>
        </p:txBody>
      </p:sp>
      <p:sp>
        <p:nvSpPr>
          <p:cNvPr id="17" name="Marcador de texto 16">
            <a:extLst>
              <a:ext uri="{FF2B5EF4-FFF2-40B4-BE49-F238E27FC236}">
                <a16:creationId xmlns:a16="http://schemas.microsoft.com/office/drawing/2014/main" id="{6FACE4DA-5C7C-4067-806E-D42EC9705F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6237" y="1603793"/>
            <a:ext cx="6264000" cy="243541"/>
          </a:xfrm>
        </p:spPr>
        <p:txBody>
          <a:bodyPr/>
          <a:lstStyle>
            <a:lvl1pPr>
              <a:defRPr sz="1600" b="1" cap="all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itle of graph</a:t>
            </a:r>
          </a:p>
        </p:txBody>
      </p:sp>
      <p:sp>
        <p:nvSpPr>
          <p:cNvPr id="19" name="Marcador de texto 18">
            <a:extLst>
              <a:ext uri="{FF2B5EF4-FFF2-40B4-BE49-F238E27FC236}">
                <a16:creationId xmlns:a16="http://schemas.microsoft.com/office/drawing/2014/main" id="{A59B49E9-588F-4C57-B690-EEC2204E76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6237" y="5790951"/>
            <a:ext cx="6264000" cy="550125"/>
          </a:xfrm>
        </p:spPr>
        <p:txBody>
          <a:bodyPr/>
          <a:lstStyle>
            <a:lvl1pPr>
              <a:defRPr sz="900" i="1">
                <a:solidFill>
                  <a:srgbClr val="8C9EAB"/>
                </a:solidFill>
              </a:defRPr>
            </a:lvl1pPr>
          </a:lstStyle>
          <a:p>
            <a:pPr lvl="0"/>
            <a:r>
              <a:rPr lang="en-US" noProof="0"/>
              <a:t>Graph notes</a:t>
            </a:r>
          </a:p>
        </p:txBody>
      </p:sp>
      <p:sp>
        <p:nvSpPr>
          <p:cNvPr id="21" name="Marcador de gráfico 20">
            <a:extLst>
              <a:ext uri="{FF2B5EF4-FFF2-40B4-BE49-F238E27FC236}">
                <a16:creationId xmlns:a16="http://schemas.microsoft.com/office/drawing/2014/main" id="{591C2347-0AE4-4827-A0BB-15C7D78BDFA0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746125" y="2020888"/>
            <a:ext cx="6264275" cy="3562350"/>
          </a:xfrm>
        </p:spPr>
        <p:txBody>
          <a:bodyPr bIns="1260000" anchor="ctr"/>
          <a:lstStyle>
            <a:lvl1pPr algn="ctr">
              <a:defRPr sz="1800" b="1"/>
            </a:lvl1pPr>
          </a:lstStyle>
          <a:p>
            <a:r>
              <a:rPr lang="en-GB" dirty="0"/>
              <a:t>Graph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EEB95E6-5999-0DE3-4B29-3371CCA9FD87}"/>
              </a:ext>
            </a:extLst>
          </p:cNvPr>
          <p:cNvSpPr txBox="1">
            <a:spLocks/>
          </p:cNvSpPr>
          <p:nvPr userDrawn="1"/>
        </p:nvSpPr>
        <p:spPr>
          <a:xfrm>
            <a:off x="1190341" y="227013"/>
            <a:ext cx="9461269" cy="7623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2954249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ángulo 12">
            <a:extLst>
              <a:ext uri="{FF2B5EF4-FFF2-40B4-BE49-F238E27FC236}">
                <a16:creationId xmlns:a16="http://schemas.microsoft.com/office/drawing/2014/main" id="{4EC101F5-9D0B-4D29-8F7C-3C55FAB9A77F}"/>
              </a:ext>
            </a:extLst>
          </p:cNvPr>
          <p:cNvSpPr/>
          <p:nvPr userDrawn="1"/>
        </p:nvSpPr>
        <p:spPr>
          <a:xfrm>
            <a:off x="0" y="1542355"/>
            <a:ext cx="12192000" cy="1476908"/>
          </a:xfrm>
          <a:prstGeom prst="rect">
            <a:avLst/>
          </a:prstGeom>
          <a:solidFill>
            <a:srgbClr val="8C9EAB">
              <a:alpha val="1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16" name="Rectángulo redondeado 112">
            <a:extLst>
              <a:ext uri="{FF2B5EF4-FFF2-40B4-BE49-F238E27FC236}">
                <a16:creationId xmlns:a16="http://schemas.microsoft.com/office/drawing/2014/main" id="{2309FD08-C0E7-4117-A02B-BFC86E786E58}"/>
              </a:ext>
            </a:extLst>
          </p:cNvPr>
          <p:cNvSpPr/>
          <p:nvPr userDrawn="1"/>
        </p:nvSpPr>
        <p:spPr>
          <a:xfrm flipH="1">
            <a:off x="6096000" y="1348923"/>
            <a:ext cx="5580378" cy="1863773"/>
          </a:xfrm>
          <a:prstGeom prst="rect">
            <a:avLst/>
          </a:prstGeom>
          <a:solidFill>
            <a:srgbClr val="D3553F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grpSp>
        <p:nvGrpSpPr>
          <p:cNvPr id="20" name="Grupo 19">
            <a:extLst>
              <a:ext uri="{FF2B5EF4-FFF2-40B4-BE49-F238E27FC236}">
                <a16:creationId xmlns:a16="http://schemas.microsoft.com/office/drawing/2014/main" id="{17DC9A3F-739E-4BB7-9BE4-8BC81A02F73C}"/>
              </a:ext>
            </a:extLst>
          </p:cNvPr>
          <p:cNvGrpSpPr/>
          <p:nvPr userDrawn="1"/>
        </p:nvGrpSpPr>
        <p:grpSpPr>
          <a:xfrm>
            <a:off x="5386437" y="1348923"/>
            <a:ext cx="1041631" cy="5388761"/>
            <a:chOff x="5385829" y="3721984"/>
            <a:chExt cx="1041631" cy="3046016"/>
          </a:xfrm>
        </p:grpSpPr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81E9A4B6-B775-4B30-BE04-CA8ED3AE0B87}"/>
                </a:ext>
              </a:extLst>
            </p:cNvPr>
            <p:cNvSpPr/>
            <p:nvPr/>
          </p:nvSpPr>
          <p:spPr>
            <a:xfrm>
              <a:off x="5713633" y="3721984"/>
              <a:ext cx="713827" cy="3038759"/>
            </a:xfrm>
            <a:prstGeom prst="rect">
              <a:avLst/>
            </a:prstGeom>
            <a:solidFill>
              <a:schemeClr val="tx1">
                <a:alpha val="32000"/>
              </a:schemeClr>
            </a:solidFill>
            <a:ln w="9525">
              <a:noFill/>
            </a:ln>
            <a:effectLst>
              <a:softEdge rad="3302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2" name="Rectángulo 21">
              <a:extLst>
                <a:ext uri="{FF2B5EF4-FFF2-40B4-BE49-F238E27FC236}">
                  <a16:creationId xmlns:a16="http://schemas.microsoft.com/office/drawing/2014/main" id="{F6A0B200-0CC5-4D2A-8AAA-CD30D0FE4F39}"/>
                </a:ext>
              </a:extLst>
            </p:cNvPr>
            <p:cNvSpPr/>
            <p:nvPr/>
          </p:nvSpPr>
          <p:spPr>
            <a:xfrm>
              <a:off x="5385829" y="3729242"/>
              <a:ext cx="713827" cy="303875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18" name="Rectángulo 17">
            <a:extLst>
              <a:ext uri="{FF2B5EF4-FFF2-40B4-BE49-F238E27FC236}">
                <a16:creationId xmlns:a16="http://schemas.microsoft.com/office/drawing/2014/main" id="{F989FA77-B19D-465F-9297-6B15B31BA453}"/>
              </a:ext>
            </a:extLst>
          </p:cNvPr>
          <p:cNvSpPr/>
          <p:nvPr userDrawn="1"/>
        </p:nvSpPr>
        <p:spPr>
          <a:xfrm>
            <a:off x="348307" y="1453437"/>
            <a:ext cx="11447016" cy="1863773"/>
          </a:xfrm>
          <a:prstGeom prst="rect">
            <a:avLst/>
          </a:prstGeom>
          <a:noFill/>
          <a:ln w="12700" cap="flat" cmpd="sng" algn="ctr">
            <a:gradFill>
              <a:gsLst>
                <a:gs pos="27000">
                  <a:srgbClr val="43ABB6"/>
                </a:gs>
                <a:gs pos="52000">
                  <a:srgbClr val="D3553F"/>
                </a:gs>
              </a:gsLst>
              <a:lin ang="0" scaled="0"/>
            </a:gra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cxnSp>
        <p:nvCxnSpPr>
          <p:cNvPr id="24" name="Conector recto 23">
            <a:extLst>
              <a:ext uri="{FF2B5EF4-FFF2-40B4-BE49-F238E27FC236}">
                <a16:creationId xmlns:a16="http://schemas.microsoft.com/office/drawing/2014/main" id="{A749055D-D40F-4C57-95F4-8495AA571D9D}"/>
              </a:ext>
            </a:extLst>
          </p:cNvPr>
          <p:cNvCxnSpPr>
            <a:cxnSpLocks/>
          </p:cNvCxnSpPr>
          <p:nvPr userDrawn="1"/>
        </p:nvCxnSpPr>
        <p:spPr>
          <a:xfrm>
            <a:off x="852717" y="2859796"/>
            <a:ext cx="0" cy="883329"/>
          </a:xfrm>
          <a:prstGeom prst="line">
            <a:avLst/>
          </a:prstGeom>
          <a:ln w="12700">
            <a:solidFill>
              <a:schemeClr val="tx2"/>
            </a:solidFill>
            <a:prstDash val="dash"/>
            <a:headEnd w="lg" len="med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cto 28">
            <a:extLst>
              <a:ext uri="{FF2B5EF4-FFF2-40B4-BE49-F238E27FC236}">
                <a16:creationId xmlns:a16="http://schemas.microsoft.com/office/drawing/2014/main" id="{D1DBE710-F316-4A46-A479-92F8C5EDBA6B}"/>
              </a:ext>
            </a:extLst>
          </p:cNvPr>
          <p:cNvCxnSpPr>
            <a:cxnSpLocks/>
          </p:cNvCxnSpPr>
          <p:nvPr userDrawn="1"/>
        </p:nvCxnSpPr>
        <p:spPr>
          <a:xfrm>
            <a:off x="6451060" y="2834396"/>
            <a:ext cx="0" cy="883329"/>
          </a:xfrm>
          <a:prstGeom prst="line">
            <a:avLst/>
          </a:prstGeom>
          <a:ln w="12700">
            <a:solidFill>
              <a:srgbClr val="D3553F"/>
            </a:solidFill>
            <a:prstDash val="dash"/>
            <a:headEnd w="lg" len="med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ángulo 24">
            <a:extLst>
              <a:ext uri="{FF2B5EF4-FFF2-40B4-BE49-F238E27FC236}">
                <a16:creationId xmlns:a16="http://schemas.microsoft.com/office/drawing/2014/main" id="{577DE68B-C390-463D-9DC7-110E49B1EF8B}"/>
              </a:ext>
            </a:extLst>
          </p:cNvPr>
          <p:cNvSpPr/>
          <p:nvPr userDrawn="1"/>
        </p:nvSpPr>
        <p:spPr>
          <a:xfrm>
            <a:off x="467709" y="1348923"/>
            <a:ext cx="5631947" cy="186377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9A870F9B-D0DC-43A0-ABB3-AB968AB4D2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93346" y="3615536"/>
            <a:ext cx="4425133" cy="2484634"/>
          </a:xfrm>
        </p:spPr>
        <p:txBody>
          <a:bodyPr/>
          <a:lstStyle/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9" name="Marcador de texto 8">
            <a:extLst>
              <a:ext uri="{FF2B5EF4-FFF2-40B4-BE49-F238E27FC236}">
                <a16:creationId xmlns:a16="http://schemas.microsoft.com/office/drawing/2014/main" id="{0D8EE4D9-40DB-41E3-9FE9-6FF0D78AF0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91689" y="3615536"/>
            <a:ext cx="4425133" cy="2484634"/>
          </a:xfrm>
        </p:spPr>
        <p:txBody>
          <a:bodyPr/>
          <a:lstStyle/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32" name="Marcador de texto 31">
            <a:extLst>
              <a:ext uri="{FF2B5EF4-FFF2-40B4-BE49-F238E27FC236}">
                <a16:creationId xmlns:a16="http://schemas.microsoft.com/office/drawing/2014/main" id="{12096F7E-5977-4FBA-BA7D-C1E063EACDE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2103" y="1614579"/>
            <a:ext cx="4644000" cy="394910"/>
          </a:xfrm>
        </p:spPr>
        <p:txBody>
          <a:bodyPr anchor="ctr"/>
          <a:lstStyle>
            <a:lvl1pPr>
              <a:defRPr sz="2800" b="1">
                <a:solidFill>
                  <a:srgbClr val="FFFFFF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itle</a:t>
            </a:r>
          </a:p>
        </p:txBody>
      </p:sp>
      <p:sp>
        <p:nvSpPr>
          <p:cNvPr id="34" name="Marcador de texto 33">
            <a:extLst>
              <a:ext uri="{FF2B5EF4-FFF2-40B4-BE49-F238E27FC236}">
                <a16:creationId xmlns:a16="http://schemas.microsoft.com/office/drawing/2014/main" id="{3A7B9A7A-18B8-4968-BA6B-C82CA0F5CD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2103" y="2032961"/>
            <a:ext cx="4644000" cy="986302"/>
          </a:xfrm>
        </p:spPr>
        <p:txBody>
          <a:bodyPr/>
          <a:lstStyle>
            <a:lvl1pPr>
              <a:defRPr sz="1400" baseline="0">
                <a:solidFill>
                  <a:schemeClr val="bg1">
                    <a:alpha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endParaRPr lang="en-US" noProof="0" dirty="0"/>
          </a:p>
        </p:txBody>
      </p:sp>
      <p:sp>
        <p:nvSpPr>
          <p:cNvPr id="37" name="Marcador de texto 31">
            <a:extLst>
              <a:ext uri="{FF2B5EF4-FFF2-40B4-BE49-F238E27FC236}">
                <a16:creationId xmlns:a16="http://schemas.microsoft.com/office/drawing/2014/main" id="{9551043E-38D0-497E-8ACD-F227943B8ED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47963" y="1621924"/>
            <a:ext cx="4644000" cy="394910"/>
          </a:xfrm>
        </p:spPr>
        <p:txBody>
          <a:bodyPr anchor="ctr"/>
          <a:lstStyle>
            <a:lvl1pPr>
              <a:defRPr sz="2800" b="1">
                <a:solidFill>
                  <a:srgbClr val="FFFFFF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itle</a:t>
            </a:r>
          </a:p>
        </p:txBody>
      </p:sp>
      <p:sp>
        <p:nvSpPr>
          <p:cNvPr id="38" name="Marcador de texto 33">
            <a:extLst>
              <a:ext uri="{FF2B5EF4-FFF2-40B4-BE49-F238E27FC236}">
                <a16:creationId xmlns:a16="http://schemas.microsoft.com/office/drawing/2014/main" id="{DCC3E33E-CD51-4D68-AC6D-45EE4329382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7963" y="2040306"/>
            <a:ext cx="4644000" cy="986302"/>
          </a:xfrm>
        </p:spPr>
        <p:txBody>
          <a:bodyPr/>
          <a:lstStyle>
            <a:lvl1pPr>
              <a:defRPr sz="1400" baseline="0">
                <a:solidFill>
                  <a:schemeClr val="bg1">
                    <a:alpha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endParaRPr lang="en-US" noProof="0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F4890D2-1EE3-3B73-623E-43301D70B4CB}"/>
              </a:ext>
            </a:extLst>
          </p:cNvPr>
          <p:cNvSpPr txBox="1">
            <a:spLocks/>
          </p:cNvSpPr>
          <p:nvPr userDrawn="1"/>
        </p:nvSpPr>
        <p:spPr>
          <a:xfrm>
            <a:off x="1190341" y="227013"/>
            <a:ext cx="9461269" cy="7623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6714667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ángulo 18">
            <a:extLst>
              <a:ext uri="{FF2B5EF4-FFF2-40B4-BE49-F238E27FC236}">
                <a16:creationId xmlns:a16="http://schemas.microsoft.com/office/drawing/2014/main" id="{99DF4E13-A196-4A1F-982F-A79E11E60F28}"/>
              </a:ext>
            </a:extLst>
          </p:cNvPr>
          <p:cNvSpPr/>
          <p:nvPr userDrawn="1"/>
        </p:nvSpPr>
        <p:spPr>
          <a:xfrm>
            <a:off x="0" y="2257623"/>
            <a:ext cx="12192000" cy="3392740"/>
          </a:xfrm>
          <a:prstGeom prst="rect">
            <a:avLst/>
          </a:prstGeom>
          <a:solidFill>
            <a:srgbClr val="D3553F">
              <a:alpha val="1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F03D36B0-D8D7-4719-A74B-706B315234CA}"/>
              </a:ext>
            </a:extLst>
          </p:cNvPr>
          <p:cNvSpPr/>
          <p:nvPr userDrawn="1"/>
        </p:nvSpPr>
        <p:spPr>
          <a:xfrm>
            <a:off x="2883635" y="1833800"/>
            <a:ext cx="6607561" cy="1702587"/>
          </a:xfrm>
          <a:prstGeom prst="rect">
            <a:avLst/>
          </a:prstGeom>
          <a:solidFill>
            <a:schemeClr val="tx1">
              <a:alpha val="31000"/>
            </a:schemeClr>
          </a:solidFill>
          <a:ln>
            <a:noFill/>
          </a:ln>
          <a:effectLst>
            <a:softEdge rad="20320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100" normalizeH="0" baseline="0" noProof="0" dirty="0">
              <a:ln>
                <a:noFill/>
              </a:ln>
              <a:solidFill>
                <a:srgbClr val="C5CED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id="{B613C63C-FDC8-46A5-9FB2-C9505D609D48}"/>
              </a:ext>
            </a:extLst>
          </p:cNvPr>
          <p:cNvSpPr/>
          <p:nvPr userDrawn="1"/>
        </p:nvSpPr>
        <p:spPr>
          <a:xfrm>
            <a:off x="2747610" y="1833799"/>
            <a:ext cx="6567115" cy="1702588"/>
          </a:xfrm>
          <a:prstGeom prst="rect">
            <a:avLst/>
          </a:prstGeom>
          <a:noFill/>
          <a:ln w="12700">
            <a:solidFill>
              <a:srgbClr val="43ABB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100" normalizeH="0" baseline="0" noProof="0" dirty="0">
              <a:ln>
                <a:noFill/>
              </a:ln>
              <a:solidFill>
                <a:srgbClr val="C5CED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id="{05BFB397-0A46-4C7C-A573-9FE7441CDA01}"/>
              </a:ext>
            </a:extLst>
          </p:cNvPr>
          <p:cNvSpPr/>
          <p:nvPr userDrawn="1"/>
        </p:nvSpPr>
        <p:spPr>
          <a:xfrm>
            <a:off x="2877267" y="1833798"/>
            <a:ext cx="6437465" cy="1702589"/>
          </a:xfrm>
          <a:prstGeom prst="rect">
            <a:avLst/>
          </a:prstGeom>
          <a:solidFill>
            <a:srgbClr val="43ABB6"/>
          </a:solidFill>
          <a:ln>
            <a:noFill/>
          </a:ln>
          <a:effectLst>
            <a:outerShdw blurRad="114300" dist="38100" dir="360000" algn="tl" rotWithShape="0">
              <a:prstClr val="black">
                <a:alpha val="13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endParaRPr lang="en-GB" sz="1400" spc="100" dirty="0">
              <a:solidFill>
                <a:srgbClr val="FFFFFF">
                  <a:alpha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Marcador de texto 31">
            <a:extLst>
              <a:ext uri="{FF2B5EF4-FFF2-40B4-BE49-F238E27FC236}">
                <a16:creationId xmlns:a16="http://schemas.microsoft.com/office/drawing/2014/main" id="{12096F7E-5977-4FBA-BA7D-C1E063EACDE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31851" y="1956340"/>
            <a:ext cx="6128297" cy="720000"/>
          </a:xfrm>
        </p:spPr>
        <p:txBody>
          <a:bodyPr anchor="b"/>
          <a:lstStyle>
            <a:lvl1pPr algn="ctr">
              <a:defRPr sz="2800" b="1" cap="all" baseline="0">
                <a:solidFill>
                  <a:srgbClr val="FFFFFF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itle</a:t>
            </a:r>
          </a:p>
        </p:txBody>
      </p:sp>
      <p:sp>
        <p:nvSpPr>
          <p:cNvPr id="34" name="Marcador de texto 33">
            <a:extLst>
              <a:ext uri="{FF2B5EF4-FFF2-40B4-BE49-F238E27FC236}">
                <a16:creationId xmlns:a16="http://schemas.microsoft.com/office/drawing/2014/main" id="{3A7B9A7A-18B8-4968-BA6B-C82CA0F5CD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031851" y="2714279"/>
            <a:ext cx="6128297" cy="720000"/>
          </a:xfrm>
        </p:spPr>
        <p:txBody>
          <a:bodyPr/>
          <a:lstStyle>
            <a:lvl1pPr algn="ctr">
              <a:defRPr sz="1800" baseline="0">
                <a:solidFill>
                  <a:schemeClr val="bg1">
                    <a:alpha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endParaRPr lang="en-US" noProof="0" dirty="0"/>
          </a:p>
        </p:txBody>
      </p: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id="{54609F7D-AEC1-45B7-854E-FBF4BBA488C1}"/>
              </a:ext>
            </a:extLst>
          </p:cNvPr>
          <p:cNvCxnSpPr>
            <a:cxnSpLocks/>
          </p:cNvCxnSpPr>
          <p:nvPr userDrawn="1"/>
        </p:nvCxnSpPr>
        <p:spPr>
          <a:xfrm>
            <a:off x="3034126" y="3536387"/>
            <a:ext cx="0" cy="445894"/>
          </a:xfrm>
          <a:prstGeom prst="line">
            <a:avLst/>
          </a:prstGeom>
          <a:ln w="12700" cap="rnd">
            <a:solidFill>
              <a:srgbClr val="D3553F"/>
            </a:solidFill>
            <a:prstDash val="dash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867734D-077E-4843-BFC9-1D1FFC02599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02440" y="3875487"/>
            <a:ext cx="5957706" cy="1600438"/>
          </a:xfrm>
        </p:spPr>
        <p:txBody>
          <a:bodyPr/>
          <a:lstStyle>
            <a:lvl1pPr>
              <a:defRPr sz="1400" b="1">
                <a:solidFill>
                  <a:srgbClr val="D3553F"/>
                </a:solidFill>
              </a:defRPr>
            </a:lvl1pPr>
          </a:lstStyle>
          <a:p>
            <a:pPr lvl="0"/>
            <a:r>
              <a:rPr lang="es-ES" dirty="0"/>
              <a:t>Text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E2D5AC2-731E-15F8-3950-7F76DF23ABD0}"/>
              </a:ext>
            </a:extLst>
          </p:cNvPr>
          <p:cNvSpPr txBox="1">
            <a:spLocks/>
          </p:cNvSpPr>
          <p:nvPr userDrawn="1"/>
        </p:nvSpPr>
        <p:spPr>
          <a:xfrm>
            <a:off x="1190341" y="227013"/>
            <a:ext cx="9461269" cy="7623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3564607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BDE826D-6E69-4E2C-9278-C90B59C88619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A2259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 err="1">
              <a:solidFill>
                <a:srgbClr val="000000"/>
              </a:solidFill>
              <a:latin typeface="Franklin Gothic Medium" panose="020B0603020102020204" pitchFamily="34" charset="0"/>
              <a:ea typeface="+mj-ea"/>
              <a:cs typeface="Arial" pitchFamily="34" charset="0"/>
              <a:sym typeface="Franklin Gothic Medium" panose="020B0603020102020204" pitchFamily="34" charset="0"/>
            </a:endParaRP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62709" y="1508125"/>
            <a:ext cx="11068539" cy="459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396786" y="6483356"/>
            <a:ext cx="234463" cy="13335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14D992F-7007-473D-9CAC-8B17A67E3C5E}" type="slidenum">
              <a:rPr lang="en-US" sz="900" smtClean="0">
                <a:solidFill>
                  <a:srgbClr val="5A2259"/>
                </a:solidFill>
              </a:rPr>
              <a:pPr>
                <a:defRPr/>
              </a:pPr>
              <a:t>‹#›</a:t>
            </a:fld>
            <a:endParaRPr lang="en-US" sz="900" dirty="0">
              <a:solidFill>
                <a:srgbClr val="5A2259"/>
              </a:solidFill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08D76A75-1154-4ECC-8C0B-DCF50CEE654F}"/>
              </a:ext>
            </a:extLst>
          </p:cNvPr>
          <p:cNvSpPr/>
          <p:nvPr userDrawn="1"/>
        </p:nvSpPr>
        <p:spPr>
          <a:xfrm>
            <a:off x="0" y="497001"/>
            <a:ext cx="243730" cy="540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6"/>
              </a:gs>
            </a:gsLst>
            <a:lin ang="5400000" scaled="1"/>
            <a:tileRect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1FE64F5C-7B9C-4791-970E-61569465B98C}"/>
              </a:ext>
            </a:extLst>
          </p:cNvPr>
          <p:cNvSpPr/>
          <p:nvPr userDrawn="1"/>
        </p:nvSpPr>
        <p:spPr>
          <a:xfrm>
            <a:off x="0" y="6768000"/>
            <a:ext cx="12192000" cy="90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6"/>
              </a:gs>
            </a:gsLst>
            <a:lin ang="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24" name="Picture 2">
            <a:extLst>
              <a:ext uri="{FF2B5EF4-FFF2-40B4-BE49-F238E27FC236}">
                <a16:creationId xmlns:a16="http://schemas.microsoft.com/office/drawing/2014/main" id="{8C9F09AB-38FF-4F16-BDAD-DC3FB40BBDB0}"/>
              </a:ext>
            </a:extLst>
          </p:cNvPr>
          <p:cNvPicPr>
            <a:picLocks noChangeAspect="1"/>
          </p:cNvPicPr>
          <p:nvPr userDrawn="1"/>
        </p:nvPicPr>
        <p:blipFill>
          <a:blip r:embed="rId23"/>
          <a:srcRect/>
          <a:stretch/>
        </p:blipFill>
        <p:spPr>
          <a:xfrm>
            <a:off x="10363029" y="256205"/>
            <a:ext cx="1561591" cy="78079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EC26A64-C6B6-A5B4-2369-A1B5E4942B59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137" y="256205"/>
            <a:ext cx="899409" cy="911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1901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88" r:id="rId1"/>
    <p:sldLayoutId id="2147485489" r:id="rId2"/>
    <p:sldLayoutId id="2147485476" r:id="rId3"/>
    <p:sldLayoutId id="2147485495" r:id="rId4"/>
    <p:sldLayoutId id="2147485490" r:id="rId5"/>
    <p:sldLayoutId id="2147485491" r:id="rId6"/>
    <p:sldLayoutId id="2147485494" r:id="rId7"/>
    <p:sldLayoutId id="2147485492" r:id="rId8"/>
    <p:sldLayoutId id="2147485493" r:id="rId9"/>
    <p:sldLayoutId id="2147485496" r:id="rId10"/>
    <p:sldLayoutId id="2147485498" r:id="rId11"/>
    <p:sldLayoutId id="2147485497" r:id="rId12"/>
    <p:sldLayoutId id="2147485499" r:id="rId13"/>
    <p:sldLayoutId id="2147485500" r:id="rId14"/>
    <p:sldLayoutId id="2147485501" r:id="rId15"/>
    <p:sldLayoutId id="2147485509" r:id="rId16"/>
    <p:sldLayoutId id="2147485510" r:id="rId17"/>
  </p:sldLayoutIdLs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0" kern="1200" cap="all" spc="300" baseline="0">
          <a:solidFill>
            <a:srgbClr val="8C9EAB"/>
          </a:solidFill>
          <a:latin typeface="Franklin Gothic Medium"/>
          <a:ea typeface="+mj-ea"/>
          <a:cs typeface="Franklin Gothic Medium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defRPr sz="2400" b="0" kern="1200" spc="100" baseline="0">
          <a:solidFill>
            <a:srgbClr val="4C5B68"/>
          </a:solidFill>
          <a:latin typeface="+mn-lt"/>
          <a:ea typeface="+mn-ea"/>
          <a:cs typeface="+mn-cs"/>
        </a:defRPr>
      </a:lvl1pPr>
      <a:lvl2pPr marL="274638" indent="-274638" algn="l" rtl="0" eaLnBrk="1" fontAlgn="base" hangingPunct="1">
        <a:spcBef>
          <a:spcPct val="20000"/>
        </a:spcBef>
        <a:spcAft>
          <a:spcPct val="0"/>
        </a:spcAft>
        <a:buClr>
          <a:srgbClr val="5A2259"/>
        </a:buClr>
        <a:buFont typeface="Wingdings" panose="05000000000000000000" pitchFamily="2" charset="2"/>
        <a:buChar char="§"/>
        <a:tabLst/>
        <a:defRPr sz="2000" kern="1200">
          <a:solidFill>
            <a:srgbClr val="5A2259"/>
          </a:solidFill>
          <a:latin typeface="Franklin Gothic Medium" panose="020B0603020102020204" pitchFamily="34" charset="0"/>
          <a:ea typeface="+mn-ea"/>
          <a:cs typeface="+mn-cs"/>
        </a:defRPr>
      </a:lvl2pPr>
      <a:lvl3pPr marL="274638" indent="-27463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tabLst/>
        <a:defRPr sz="1600" kern="1200">
          <a:solidFill>
            <a:srgbClr val="43ABB6"/>
          </a:solidFill>
          <a:latin typeface="Franklin Gothic Medium" panose="020B0603020102020204" pitchFamily="34" charset="0"/>
          <a:ea typeface="+mn-ea"/>
          <a:cs typeface="+mn-cs"/>
        </a:defRPr>
      </a:lvl3pPr>
      <a:lvl4pPr marL="274638" indent="-265113" algn="l" rtl="0" eaLnBrk="1" fontAlgn="base" hangingPunct="1">
        <a:spcBef>
          <a:spcPct val="20000"/>
        </a:spcBef>
        <a:spcAft>
          <a:spcPct val="0"/>
        </a:spcAft>
        <a:buClr>
          <a:srgbClr val="E93F47"/>
        </a:buClr>
        <a:buFont typeface="Wingdings" panose="05000000000000000000" pitchFamily="2" charset="2"/>
        <a:buChar char="§"/>
        <a:tabLst/>
        <a:defRPr sz="1400" kern="1200">
          <a:solidFill>
            <a:srgbClr val="D3553F"/>
          </a:solidFill>
          <a:latin typeface="Franklin Gothic Medium" panose="020B0603020102020204" pitchFamily="34" charset="0"/>
          <a:ea typeface="+mn-ea"/>
          <a:cs typeface="+mn-cs"/>
        </a:defRPr>
      </a:lvl4pPr>
      <a:lvl5pPr marL="274638" indent="-265113" algn="l" rtl="0" eaLnBrk="1" fontAlgn="base" hangingPunct="1">
        <a:spcBef>
          <a:spcPct val="20000"/>
        </a:spcBef>
        <a:spcAft>
          <a:spcPct val="0"/>
        </a:spcAft>
        <a:buClr>
          <a:srgbClr val="8C9EAB"/>
        </a:buClr>
        <a:buFont typeface="Wingdings" panose="05000000000000000000" pitchFamily="2" charset="2"/>
        <a:buChar char="§"/>
        <a:tabLst/>
        <a:defRPr sz="1200" kern="1200">
          <a:solidFill>
            <a:srgbClr val="8C9EAB"/>
          </a:solidFill>
          <a:latin typeface="Franklin Gothic Medium" panose="020B06030201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7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7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7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39AF35-02DA-E2A6-BBBB-180F1665BA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11328" y="5747961"/>
            <a:ext cx="4279863" cy="502040"/>
          </a:xfrm>
        </p:spPr>
        <p:txBody>
          <a:bodyPr>
            <a:noAutofit/>
          </a:bodyPr>
          <a:lstStyle/>
          <a:p>
            <a:r>
              <a:rPr lang="en-US" sz="1600" dirty="0"/>
              <a:t>12 DEC 2023</a:t>
            </a:r>
            <a:endParaRPr lang="en-IN" sz="16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67D699D-9251-A6CD-9B00-4EDD82B4D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384" y="3929233"/>
            <a:ext cx="3986557" cy="1520003"/>
          </a:xfrm>
        </p:spPr>
        <p:txBody>
          <a:bodyPr>
            <a:normAutofit/>
          </a:bodyPr>
          <a:lstStyle/>
          <a:p>
            <a:r>
              <a:rPr lang="en-IN" dirty="0"/>
              <a:t>BLIMS training PP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1CEF3AC-AD84-A3AF-D163-825681F098A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9" name="Picture 8" descr="Map&#10;&#10;Description automatically generated">
            <a:extLst>
              <a:ext uri="{FF2B5EF4-FFF2-40B4-BE49-F238E27FC236}">
                <a16:creationId xmlns:a16="http://schemas.microsoft.com/office/drawing/2014/main" id="{C4FDD5D9-BB82-DB2A-E77D-3714CBF052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89786" y="225466"/>
            <a:ext cx="5044782" cy="6501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61763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5DAAA239-1897-8AEA-A740-4531448B85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16733" y="3399462"/>
            <a:ext cx="5595552" cy="307649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latin typeface="Arial"/>
              </a:rPr>
              <a:t>Under LAB LOGIN: User can create different roles for the lab staff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latin typeface="Arial"/>
              </a:rPr>
              <a:t>Can enter the data for very lab TB tes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latin typeface="Arial"/>
              </a:rPr>
              <a:t>Can download TB C&amp;DST  register 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latin typeface="Arial"/>
              </a:rPr>
              <a:t> Real time monitoring by the lab </a:t>
            </a:r>
            <a:r>
              <a:rPr lang="en-US" sz="2000" dirty="0" err="1">
                <a:solidFill>
                  <a:schemeClr val="tx1"/>
                </a:solidFill>
                <a:latin typeface="Arial"/>
              </a:rPr>
              <a:t>incharge</a:t>
            </a:r>
            <a:endParaRPr lang="en-US" sz="2000" dirty="0">
              <a:solidFill>
                <a:schemeClr val="tx1"/>
              </a:solidFill>
              <a:latin typeface="Arial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latin typeface="Arial"/>
              </a:rPr>
              <a:t>Generate monthly Reports, TAT report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47B5A5E-FC2A-2139-1312-CA55920DADF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57396" y="3399462"/>
            <a:ext cx="5317871" cy="248463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latin typeface="Arial"/>
              </a:rPr>
              <a:t>Able to create roles like Lab admin users, divisional and national level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latin typeface="Arial"/>
              </a:rPr>
              <a:t>Able to monitor National level data lab wise/ all C&amp;DST lab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latin typeface="Arial"/>
              </a:rPr>
              <a:t>Able to upload CSV file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/>
              </a:solidFill>
              <a:latin typeface="Arial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1726E41C-522D-DEBD-5C6E-EA29EDD93A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82103" y="1614579"/>
            <a:ext cx="4644000" cy="394910"/>
          </a:xfrm>
        </p:spPr>
        <p:txBody>
          <a:bodyPr/>
          <a:lstStyle/>
          <a:p>
            <a:r>
              <a:rPr lang="en-US" dirty="0"/>
              <a:t>LAB LOGIN 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848960A3-5BF6-F0D3-A650-4909F13B2C6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82103" y="2032961"/>
            <a:ext cx="4644000" cy="98630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6158027A-93EB-807F-18D6-553DCD8C2A1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47963" y="1621924"/>
            <a:ext cx="4644000" cy="394910"/>
          </a:xfrm>
        </p:spPr>
        <p:txBody>
          <a:bodyPr/>
          <a:lstStyle/>
          <a:p>
            <a:r>
              <a:rPr lang="en-US" dirty="0"/>
              <a:t>ADMIN LOGIN 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6E25669A-7EFC-22E8-4227-7A7B65EE22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447963" y="2040306"/>
            <a:ext cx="4644000" cy="986302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91807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70A0F8EA-2724-6335-F561-1609C69C9860}"/>
              </a:ext>
            </a:extLst>
          </p:cNvPr>
          <p:cNvSpPr/>
          <p:nvPr/>
        </p:nvSpPr>
        <p:spPr>
          <a:xfrm>
            <a:off x="2136000" y="1753644"/>
            <a:ext cx="1784647" cy="626301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F7668E-7F7A-8706-B979-C9DE97E7DD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8176" y="424343"/>
            <a:ext cx="8931058" cy="527635"/>
          </a:xfrm>
          <a:solidFill>
            <a:srgbClr val="3B680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rPr>
              <a:t>DASHBOARD </a:t>
            </a:r>
          </a:p>
        </p:txBody>
      </p:sp>
      <p:pic>
        <p:nvPicPr>
          <p:cNvPr id="15" name="Content Placeholder 14">
            <a:extLst>
              <a:ext uri="{FF2B5EF4-FFF2-40B4-BE49-F238E27FC236}">
                <a16:creationId xmlns:a16="http://schemas.microsoft.com/office/drawing/2014/main" id="{5D3EB3AF-CC0C-B571-A31F-1237ACA64FC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64458" y="1351361"/>
            <a:ext cx="11509800" cy="5082296"/>
          </a:xfr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AD6A4D9E-69D5-D66B-E27F-99BE3C9FDFA5}"/>
              </a:ext>
            </a:extLst>
          </p:cNvPr>
          <p:cNvSpPr txBox="1"/>
          <p:nvPr/>
        </p:nvSpPr>
        <p:spPr>
          <a:xfrm>
            <a:off x="2261261" y="1891430"/>
            <a:ext cx="1383814" cy="375781"/>
          </a:xfrm>
          <a:prstGeom prst="rect">
            <a:avLst/>
          </a:prstGeom>
          <a:noFill/>
          <a:ln w="28575">
            <a:solidFill>
              <a:srgbClr val="8B518B"/>
            </a:solidFill>
          </a:ln>
        </p:spPr>
        <p:txBody>
          <a:bodyPr wrap="square" tIns="91440" bIns="91440" rtlCol="0">
            <a:spAutoFit/>
          </a:bodyPr>
          <a:lstStyle/>
          <a:p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4CE1EB3-3F16-26F2-995A-B841D3F45741}"/>
              </a:ext>
            </a:extLst>
          </p:cNvPr>
          <p:cNvSpPr txBox="1"/>
          <p:nvPr/>
        </p:nvSpPr>
        <p:spPr>
          <a:xfrm>
            <a:off x="76776" y="2417523"/>
            <a:ext cx="1877283" cy="3945699"/>
          </a:xfrm>
          <a:prstGeom prst="rect">
            <a:avLst/>
          </a:prstGeom>
          <a:noFill/>
          <a:ln w="28575">
            <a:solidFill>
              <a:srgbClr val="FFFFFF"/>
            </a:solidFill>
          </a:ln>
        </p:spPr>
        <p:txBody>
          <a:bodyPr wrap="square" tIns="91440" bIns="91440" rtlCol="0">
            <a:spAutoFit/>
          </a:bodyPr>
          <a:lstStyle/>
          <a:p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0FD5826-39AC-3704-B6A8-8BC03DF61E01}"/>
              </a:ext>
            </a:extLst>
          </p:cNvPr>
          <p:cNvSpPr txBox="1"/>
          <p:nvPr/>
        </p:nvSpPr>
        <p:spPr>
          <a:xfrm>
            <a:off x="3428269" y="2780824"/>
            <a:ext cx="1557089" cy="3664526"/>
          </a:xfrm>
          <a:prstGeom prst="rect">
            <a:avLst/>
          </a:prstGeom>
          <a:noFill/>
          <a:ln w="28575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wrap="square" tIns="91440" bIns="91440" rtlCol="0">
            <a:spAutoFit/>
          </a:bodyPr>
          <a:lstStyle/>
          <a:p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A68A3C4-13DB-82E2-1D69-A681C9C35F3D}"/>
              </a:ext>
            </a:extLst>
          </p:cNvPr>
          <p:cNvSpPr txBox="1"/>
          <p:nvPr/>
        </p:nvSpPr>
        <p:spPr>
          <a:xfrm>
            <a:off x="5264167" y="2769131"/>
            <a:ext cx="1557089" cy="3664526"/>
          </a:xfrm>
          <a:prstGeom prst="rect">
            <a:avLst/>
          </a:prstGeom>
          <a:noFill/>
          <a:ln w="28575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wrap="square" tIns="91440" bIns="91440" rtlCol="0">
            <a:spAutoFit/>
          </a:bodyPr>
          <a:lstStyle/>
          <a:p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4D0BB11-A2BB-5FD9-92C1-30C5B2778ED0}"/>
              </a:ext>
            </a:extLst>
          </p:cNvPr>
          <p:cNvSpPr txBox="1"/>
          <p:nvPr/>
        </p:nvSpPr>
        <p:spPr>
          <a:xfrm>
            <a:off x="7152667" y="2759948"/>
            <a:ext cx="1557089" cy="3664526"/>
          </a:xfrm>
          <a:prstGeom prst="rect">
            <a:avLst/>
          </a:prstGeom>
          <a:noFill/>
          <a:ln w="28575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wrap="square" tIns="91440" bIns="91440" rtlCol="0">
            <a:spAutoFit/>
          </a:bodyPr>
          <a:lstStyle/>
          <a:p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F32F9B1-4D77-343F-4672-79B161839EF9}"/>
              </a:ext>
            </a:extLst>
          </p:cNvPr>
          <p:cNvSpPr txBox="1"/>
          <p:nvPr/>
        </p:nvSpPr>
        <p:spPr>
          <a:xfrm>
            <a:off x="9384383" y="2762036"/>
            <a:ext cx="1557089" cy="3664526"/>
          </a:xfrm>
          <a:prstGeom prst="rect">
            <a:avLst/>
          </a:prstGeom>
          <a:noFill/>
          <a:ln w="28575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wrap="square" tIns="91440" bIns="91440" rtlCol="0">
            <a:spAutoFit/>
          </a:bodyPr>
          <a:lstStyle/>
          <a:p>
            <a:endParaRPr lang="en-US" sz="1400" dirty="0">
              <a:solidFill>
                <a:srgbClr val="000000"/>
              </a:solidFill>
            </a:endParaRPr>
          </a:p>
        </p:txBody>
      </p:sp>
      <p:pic>
        <p:nvPicPr>
          <p:cNvPr id="1026" name="Picture 2" descr="Real-time Monitoring with Nagios - Nagios">
            <a:extLst>
              <a:ext uri="{FF2B5EF4-FFF2-40B4-BE49-F238E27FC236}">
                <a16:creationId xmlns:a16="http://schemas.microsoft.com/office/drawing/2014/main" id="{1F8E661D-1244-4E0A-101F-7998337D91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76760" y="1487621"/>
            <a:ext cx="1784647" cy="892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EA2A88F8-1263-6F4C-5FAC-854C50B323C2}"/>
              </a:ext>
            </a:extLst>
          </p:cNvPr>
          <p:cNvSpPr/>
          <p:nvPr/>
        </p:nvSpPr>
        <p:spPr>
          <a:xfrm>
            <a:off x="2023517" y="1724062"/>
            <a:ext cx="1931395" cy="626301"/>
          </a:xfrm>
          <a:prstGeom prst="ellipse">
            <a:avLst/>
          </a:prstGeom>
          <a:noFill/>
          <a:ln>
            <a:solidFill>
              <a:srgbClr val="C413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56E19EF-5E9F-B65E-3BBB-055E5254E593}"/>
              </a:ext>
            </a:extLst>
          </p:cNvPr>
          <p:cNvSpPr/>
          <p:nvPr/>
        </p:nvSpPr>
        <p:spPr>
          <a:xfrm>
            <a:off x="142068" y="2444662"/>
            <a:ext cx="1557090" cy="361168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803DB1FD-E756-27CB-3209-51B580C2B0AA}"/>
              </a:ext>
            </a:extLst>
          </p:cNvPr>
          <p:cNvSpPr/>
          <p:nvPr/>
        </p:nvSpPr>
        <p:spPr>
          <a:xfrm>
            <a:off x="3374045" y="3005202"/>
            <a:ext cx="1557090" cy="36116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CE3486C-97BA-375B-E618-F21502B3AEB9}"/>
              </a:ext>
            </a:extLst>
          </p:cNvPr>
          <p:cNvSpPr/>
          <p:nvPr/>
        </p:nvSpPr>
        <p:spPr>
          <a:xfrm>
            <a:off x="5207575" y="3005202"/>
            <a:ext cx="1557090" cy="36116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5F0432DD-D68F-42AF-C38A-C2E2A6F17D55}"/>
              </a:ext>
            </a:extLst>
          </p:cNvPr>
          <p:cNvSpPr/>
          <p:nvPr/>
        </p:nvSpPr>
        <p:spPr>
          <a:xfrm>
            <a:off x="7201297" y="2994764"/>
            <a:ext cx="1557090" cy="36116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C90B996B-AC8D-0C46-7642-5B2B9E150F16}"/>
              </a:ext>
            </a:extLst>
          </p:cNvPr>
          <p:cNvSpPr/>
          <p:nvPr/>
        </p:nvSpPr>
        <p:spPr>
          <a:xfrm>
            <a:off x="9332805" y="3009378"/>
            <a:ext cx="1557090" cy="36116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278466B3-9C16-93E6-E6A0-8B24CE1C374D}"/>
              </a:ext>
            </a:extLst>
          </p:cNvPr>
          <p:cNvSpPr/>
          <p:nvPr/>
        </p:nvSpPr>
        <p:spPr>
          <a:xfrm>
            <a:off x="188851" y="2862196"/>
            <a:ext cx="1557090" cy="361168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A654AFF9-AB26-FEB5-F107-1F6C7C3A9CBD}"/>
              </a:ext>
            </a:extLst>
          </p:cNvPr>
          <p:cNvSpPr/>
          <p:nvPr/>
        </p:nvSpPr>
        <p:spPr>
          <a:xfrm>
            <a:off x="190939" y="3189960"/>
            <a:ext cx="1557090" cy="361168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0E132BB8-7D52-0E9E-D2C2-E7D11A7BBC74}"/>
              </a:ext>
            </a:extLst>
          </p:cNvPr>
          <p:cNvSpPr/>
          <p:nvPr/>
        </p:nvSpPr>
        <p:spPr>
          <a:xfrm>
            <a:off x="243131" y="3542776"/>
            <a:ext cx="1557090" cy="361168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B8DC32B2-208B-901E-F55E-D7CF83D343D0}"/>
              </a:ext>
            </a:extLst>
          </p:cNvPr>
          <p:cNvSpPr/>
          <p:nvPr/>
        </p:nvSpPr>
        <p:spPr>
          <a:xfrm>
            <a:off x="257745" y="3908118"/>
            <a:ext cx="1557090" cy="361168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1E6004F7-AC95-B214-8F8A-EE43B533FE07}"/>
              </a:ext>
            </a:extLst>
          </p:cNvPr>
          <p:cNvSpPr/>
          <p:nvPr/>
        </p:nvSpPr>
        <p:spPr>
          <a:xfrm>
            <a:off x="247307" y="4260934"/>
            <a:ext cx="1557090" cy="361168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E2AE88D5-8DD3-671D-4234-D9EA978BC1B1}"/>
              </a:ext>
            </a:extLst>
          </p:cNvPr>
          <p:cNvSpPr/>
          <p:nvPr/>
        </p:nvSpPr>
        <p:spPr>
          <a:xfrm>
            <a:off x="224343" y="4613750"/>
            <a:ext cx="1557090" cy="361168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D0C8FDA2-B457-9B73-2278-C3D23486669F}"/>
              </a:ext>
            </a:extLst>
          </p:cNvPr>
          <p:cNvSpPr/>
          <p:nvPr/>
        </p:nvSpPr>
        <p:spPr>
          <a:xfrm>
            <a:off x="199291" y="4939426"/>
            <a:ext cx="1557090" cy="361168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7F37310F-FD59-EEDE-3DDC-11D58F06506E}"/>
              </a:ext>
            </a:extLst>
          </p:cNvPr>
          <p:cNvSpPr/>
          <p:nvPr/>
        </p:nvSpPr>
        <p:spPr>
          <a:xfrm>
            <a:off x="151275" y="5304768"/>
            <a:ext cx="1557090" cy="361168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1E10F08E-BD1B-A3C1-D30B-5C5B9414FE5E}"/>
              </a:ext>
            </a:extLst>
          </p:cNvPr>
          <p:cNvSpPr/>
          <p:nvPr/>
        </p:nvSpPr>
        <p:spPr>
          <a:xfrm>
            <a:off x="190941" y="5657584"/>
            <a:ext cx="1557090" cy="361168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A743B257-4DF9-60B9-93C3-42B36FB53768}"/>
              </a:ext>
            </a:extLst>
          </p:cNvPr>
          <p:cNvSpPr/>
          <p:nvPr/>
        </p:nvSpPr>
        <p:spPr>
          <a:xfrm>
            <a:off x="230607" y="6022926"/>
            <a:ext cx="1557090" cy="361168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81376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20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3" grpId="0" animBg="1"/>
      <p:bldP spid="34" grpId="0" animBg="1"/>
      <p:bldP spid="35" grpId="0" animBg="1"/>
      <p:bldP spid="36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444AC54-511D-B967-EEEA-8D2DFEF730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1376" y="372721"/>
            <a:ext cx="9199395" cy="790065"/>
          </a:xfrm>
        </p:spPr>
        <p:txBody>
          <a:bodyPr/>
          <a:lstStyle/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39423B-DDF6-2B7D-A5CD-99779B2685D8}"/>
              </a:ext>
            </a:extLst>
          </p:cNvPr>
          <p:cNvSpPr/>
          <p:nvPr/>
        </p:nvSpPr>
        <p:spPr>
          <a:xfrm>
            <a:off x="1427967" y="503955"/>
            <a:ext cx="9006214" cy="527598"/>
          </a:xfrm>
          <a:prstGeom prst="rect">
            <a:avLst/>
          </a:prstGeom>
          <a:solidFill>
            <a:srgbClr val="3B680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3600" cap="all" spc="3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dmin LOGIN </a:t>
            </a:r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1CC2691D-1263-6B37-CEE5-929067E7F10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062375" y="1475468"/>
            <a:ext cx="10067250" cy="4591050"/>
          </a:xfrm>
        </p:spPr>
      </p:pic>
    </p:spTree>
    <p:extLst>
      <p:ext uri="{BB962C8B-B14F-4D97-AF65-F5344CB8AC3E}">
        <p14:creationId xmlns:p14="http://schemas.microsoft.com/office/powerpoint/2010/main" val="37158587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C22D101D-5EF4-AD8E-7A12-8B583509101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t="8911" r="4348" b="13098"/>
          <a:stretch/>
        </p:blipFill>
        <p:spPr>
          <a:xfrm>
            <a:off x="432279" y="1303801"/>
            <a:ext cx="11327441" cy="519517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F444AC54-511D-B967-EEEA-8D2DFEF730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39423B-DDF6-2B7D-A5CD-99779B2685D8}"/>
              </a:ext>
            </a:extLst>
          </p:cNvPr>
          <p:cNvSpPr/>
          <p:nvPr/>
        </p:nvSpPr>
        <p:spPr>
          <a:xfrm>
            <a:off x="1427967" y="503955"/>
            <a:ext cx="9006214" cy="527598"/>
          </a:xfrm>
          <a:prstGeom prst="rect">
            <a:avLst/>
          </a:prstGeom>
          <a:solidFill>
            <a:srgbClr val="3B680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3600" cap="all" spc="3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USER LOGIN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C0884D0-7F50-A7E7-F1F1-4CAEB61AA0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5431" y="1214408"/>
            <a:ext cx="12046569" cy="5397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56054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444AC54-511D-B967-EEEA-8D2DFEF730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39423B-DDF6-2B7D-A5CD-99779B2685D8}"/>
              </a:ext>
            </a:extLst>
          </p:cNvPr>
          <p:cNvSpPr/>
          <p:nvPr/>
        </p:nvSpPr>
        <p:spPr>
          <a:xfrm>
            <a:off x="1427967" y="503955"/>
            <a:ext cx="9006214" cy="527598"/>
          </a:xfrm>
          <a:prstGeom prst="rect">
            <a:avLst/>
          </a:prstGeom>
          <a:solidFill>
            <a:srgbClr val="3B680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3600" cap="all" spc="3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ab Dashboard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C64842-FE4C-18AA-6BAC-1B5CEEF416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0C22012-3DB6-FC34-B125-E0D24053E4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167" y="1111165"/>
            <a:ext cx="11957665" cy="5620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59557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444AC54-511D-B967-EEEA-8D2DFEF730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39423B-DDF6-2B7D-A5CD-99779B2685D8}"/>
              </a:ext>
            </a:extLst>
          </p:cNvPr>
          <p:cNvSpPr/>
          <p:nvPr/>
        </p:nvSpPr>
        <p:spPr>
          <a:xfrm>
            <a:off x="1427967" y="503955"/>
            <a:ext cx="9006214" cy="527598"/>
          </a:xfrm>
          <a:prstGeom prst="rect">
            <a:avLst/>
          </a:prstGeom>
          <a:solidFill>
            <a:srgbClr val="3B680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3600" cap="all" spc="3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User List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62E830E-F3AF-8805-8374-10CD995698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17E8A1D-EB46-C16E-20BB-192B986AB4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5672" y="1211233"/>
            <a:ext cx="12167225" cy="5721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26745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444AC54-511D-B967-EEEA-8D2DFEF730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39423B-DDF6-2B7D-A5CD-99779B2685D8}"/>
              </a:ext>
            </a:extLst>
          </p:cNvPr>
          <p:cNvSpPr/>
          <p:nvPr/>
        </p:nvSpPr>
        <p:spPr>
          <a:xfrm>
            <a:off x="1427967" y="503955"/>
            <a:ext cx="9006214" cy="527598"/>
          </a:xfrm>
          <a:prstGeom prst="rect">
            <a:avLst/>
          </a:prstGeom>
          <a:solidFill>
            <a:srgbClr val="3B680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3600" cap="all" spc="3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User Updat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62E830E-F3AF-8805-8374-10CD995698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A9A8819-8F48-C851-636C-213B22A3A8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642" y="1111165"/>
            <a:ext cx="11976716" cy="5512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5771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1E8D61-8079-F988-FFB0-FB83E69149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968" y="486973"/>
            <a:ext cx="9018740" cy="565213"/>
          </a:xfrm>
          <a:solidFill>
            <a:srgbClr val="3B680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rPr>
              <a:t>Specimen registration </a:t>
            </a:r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292BB658-53B4-3EC3-6671-E5C1FBCDFF8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98805" y="1345286"/>
            <a:ext cx="11262718" cy="5280981"/>
          </a:xfr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A4A8BD6-7159-DA2D-2810-2D7AC2373699}"/>
              </a:ext>
            </a:extLst>
          </p:cNvPr>
          <p:cNvSpPr/>
          <p:nvPr/>
        </p:nvSpPr>
        <p:spPr>
          <a:xfrm>
            <a:off x="100208" y="1345285"/>
            <a:ext cx="11599101" cy="5280981"/>
          </a:xfrm>
          <a:prstGeom prst="rect">
            <a:avLst/>
          </a:prstGeom>
          <a:noFill/>
          <a:ln w="38100">
            <a:solidFill>
              <a:srgbClr val="7030A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82060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2E95C0-0E98-A3F2-8975-23AEB02BB2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20CEBB5-7D19-BE7D-DECB-E0A59CD59AF5}"/>
              </a:ext>
            </a:extLst>
          </p:cNvPr>
          <p:cNvSpPr/>
          <p:nvPr/>
        </p:nvSpPr>
        <p:spPr>
          <a:xfrm>
            <a:off x="723081" y="1214408"/>
            <a:ext cx="10428514" cy="4804327"/>
          </a:xfrm>
          <a:prstGeom prst="rect">
            <a:avLst/>
          </a:prstGeom>
          <a:noFill/>
          <a:ln w="38100">
            <a:solidFill>
              <a:srgbClr val="7030A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FA1F37E-9C67-77C7-F841-A9D35B51198D}"/>
              </a:ext>
            </a:extLst>
          </p:cNvPr>
          <p:cNvSpPr txBox="1">
            <a:spLocks/>
          </p:cNvSpPr>
          <p:nvPr/>
        </p:nvSpPr>
        <p:spPr>
          <a:xfrm>
            <a:off x="1427968" y="486973"/>
            <a:ext cx="9018740" cy="565213"/>
          </a:xfrm>
          <a:prstGeom prst="rect">
            <a:avLst/>
          </a:prstGeom>
          <a:solidFill>
            <a:srgbClr val="3B680E"/>
          </a:solidFill>
          <a:ln w="9525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60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pecimen registration </a:t>
            </a:r>
            <a:endParaRPr lang="en-US" sz="3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6FFAB75B-0B0F-161E-BD55-9E177422577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66578" y="1558744"/>
            <a:ext cx="9943420" cy="4084847"/>
          </a:xfrm>
        </p:spPr>
      </p:pic>
    </p:spTree>
    <p:extLst>
      <p:ext uri="{BB962C8B-B14F-4D97-AF65-F5344CB8AC3E}">
        <p14:creationId xmlns:p14="http://schemas.microsoft.com/office/powerpoint/2010/main" val="195676824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2E95C0-0E98-A3F2-8975-23AEB02BB2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20CEBB5-7D19-BE7D-DECB-E0A59CD59AF5}"/>
              </a:ext>
            </a:extLst>
          </p:cNvPr>
          <p:cNvSpPr/>
          <p:nvPr/>
        </p:nvSpPr>
        <p:spPr>
          <a:xfrm>
            <a:off x="723081" y="1214408"/>
            <a:ext cx="10428514" cy="4804327"/>
          </a:xfrm>
          <a:prstGeom prst="rect">
            <a:avLst/>
          </a:prstGeom>
          <a:noFill/>
          <a:ln w="38100">
            <a:solidFill>
              <a:srgbClr val="7030A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FA1F37E-9C67-77C7-F841-A9D35B51198D}"/>
              </a:ext>
            </a:extLst>
          </p:cNvPr>
          <p:cNvSpPr txBox="1">
            <a:spLocks/>
          </p:cNvSpPr>
          <p:nvPr/>
        </p:nvSpPr>
        <p:spPr>
          <a:xfrm>
            <a:off x="1427968" y="486973"/>
            <a:ext cx="8946118" cy="960827"/>
          </a:xfrm>
          <a:prstGeom prst="rect">
            <a:avLst/>
          </a:prstGeom>
          <a:solidFill>
            <a:srgbClr val="3B680E"/>
          </a:solidFill>
          <a:ln w="9525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pecimen registration with 1 samp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8514EB9-67C4-D5C8-F67D-67733266BC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0836E74-9DA5-3F3C-EBA1-E5353F07E7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2488" y="2485976"/>
            <a:ext cx="9227024" cy="1886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7622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BDEE63-6B04-E066-075A-C48C5ABBC3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9673" y="1903695"/>
            <a:ext cx="6562571" cy="4591050"/>
          </a:xfrm>
        </p:spPr>
        <p:txBody>
          <a:bodyPr/>
          <a:lstStyle/>
          <a:p>
            <a:pPr marL="0" marR="0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kern="1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 TB laboratory network of the National Control Tuberculosis Program (NTP has an approach of three-tier laboratory network system (NRL and RTRLs and peripheral labs) for the diagnosis of TB and DR TB. 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Gautami" panose="020B0502040204020203" pitchFamily="34" charset="0"/>
            </a:endParaRPr>
          </a:p>
          <a:p>
            <a:pPr marL="0" marR="0" algn="just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angladesh TB program has 6 C&amp;DST (5 RTRLs,1 NTRL) laboratories serving various TB DST testing (Phenotypic or Molecular tests). </a:t>
            </a:r>
            <a:endParaRPr lang="en-US" sz="1800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just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4E3CAEA-08EA-5F12-4636-FD04D336CC72}"/>
              </a:ext>
            </a:extLst>
          </p:cNvPr>
          <p:cNvSpPr/>
          <p:nvPr/>
        </p:nvSpPr>
        <p:spPr>
          <a:xfrm>
            <a:off x="1402915" y="363255"/>
            <a:ext cx="9081370" cy="676406"/>
          </a:xfrm>
          <a:prstGeom prst="rect">
            <a:avLst/>
          </a:prstGeom>
          <a:solidFill>
            <a:srgbClr val="3B680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ackground 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AE771D3-FE16-C858-CE22-44EC435C22A8}"/>
              </a:ext>
            </a:extLst>
          </p:cNvPr>
          <p:cNvGrpSpPr/>
          <p:nvPr/>
        </p:nvGrpSpPr>
        <p:grpSpPr>
          <a:xfrm>
            <a:off x="7406899" y="922774"/>
            <a:ext cx="4039892" cy="5141576"/>
            <a:chOff x="7406899" y="922774"/>
            <a:chExt cx="4039892" cy="5141576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53D8DE7F-12EE-3C9B-1AD2-7B48F9555A93}"/>
                </a:ext>
              </a:extLst>
            </p:cNvPr>
            <p:cNvGrpSpPr/>
            <p:nvPr/>
          </p:nvGrpSpPr>
          <p:grpSpPr>
            <a:xfrm>
              <a:off x="7406899" y="922774"/>
              <a:ext cx="4039892" cy="5141576"/>
              <a:chOff x="7406899" y="922774"/>
              <a:chExt cx="4039892" cy="5141576"/>
            </a:xfrm>
          </p:grpSpPr>
          <p:sp>
            <p:nvSpPr>
              <p:cNvPr id="2" name="Isosceles Triangle 1">
                <a:extLst>
                  <a:ext uri="{FF2B5EF4-FFF2-40B4-BE49-F238E27FC236}">
                    <a16:creationId xmlns:a16="http://schemas.microsoft.com/office/drawing/2014/main" id="{74351368-FA28-BABB-8D1A-2DEF71A2CAB4}"/>
                  </a:ext>
                </a:extLst>
              </p:cNvPr>
              <p:cNvSpPr/>
              <p:nvPr/>
            </p:nvSpPr>
            <p:spPr>
              <a:xfrm>
                <a:off x="7406899" y="1208380"/>
                <a:ext cx="4039892" cy="4757980"/>
              </a:xfrm>
              <a:prstGeom prst="triangle">
                <a:avLst/>
              </a:prstGeom>
              <a:solidFill>
                <a:srgbClr val="5A2259"/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800" dirty="0" err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cxnSp>
            <p:nvCxnSpPr>
              <p:cNvPr id="6" name="Straight Connector 5">
                <a:extLst>
                  <a:ext uri="{FF2B5EF4-FFF2-40B4-BE49-F238E27FC236}">
                    <a16:creationId xmlns:a16="http://schemas.microsoft.com/office/drawing/2014/main" id="{7C363E25-E0F9-9EFE-7578-07EE5C39B5FF}"/>
                  </a:ext>
                </a:extLst>
              </p:cNvPr>
              <p:cNvCxnSpPr/>
              <p:nvPr/>
            </p:nvCxnSpPr>
            <p:spPr>
              <a:xfrm>
                <a:off x="8865031" y="2572719"/>
                <a:ext cx="1193369" cy="0"/>
              </a:xfrm>
              <a:prstGeom prst="line">
                <a:avLst/>
              </a:prstGeom>
              <a:ln>
                <a:solidFill>
                  <a:schemeClr val="bg1"/>
                </a:solidFill>
                <a:tailEnd type="non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" name="Straight Connector 6">
                <a:extLst>
                  <a:ext uri="{FF2B5EF4-FFF2-40B4-BE49-F238E27FC236}">
                    <a16:creationId xmlns:a16="http://schemas.microsoft.com/office/drawing/2014/main" id="{69B5A71B-0BFB-CE05-906A-09BC1203E2B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382001" y="3732509"/>
                <a:ext cx="2102284" cy="0"/>
              </a:xfrm>
              <a:prstGeom prst="line">
                <a:avLst/>
              </a:prstGeom>
              <a:ln>
                <a:solidFill>
                  <a:schemeClr val="bg1"/>
                </a:solidFill>
                <a:tailEnd type="non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8">
                <a:extLst>
                  <a:ext uri="{FF2B5EF4-FFF2-40B4-BE49-F238E27FC236}">
                    <a16:creationId xmlns:a16="http://schemas.microsoft.com/office/drawing/2014/main" id="{C867AB42-7012-6EF7-6B79-EFC0F397561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828730" y="4522505"/>
                <a:ext cx="3016251" cy="0"/>
              </a:xfrm>
              <a:prstGeom prst="line">
                <a:avLst/>
              </a:prstGeom>
              <a:ln>
                <a:solidFill>
                  <a:schemeClr val="bg1"/>
                </a:solidFill>
                <a:tailEnd type="non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99694D3A-CC8C-F9E3-E592-0F088067384F}"/>
                  </a:ext>
                </a:extLst>
              </p:cNvPr>
              <p:cNvSpPr txBox="1"/>
              <p:nvPr/>
            </p:nvSpPr>
            <p:spPr>
              <a:xfrm>
                <a:off x="9030031" y="2943559"/>
                <a:ext cx="695864" cy="353943"/>
              </a:xfrm>
              <a:prstGeom prst="rect">
                <a:avLst/>
              </a:prstGeom>
              <a:noFill/>
            </p:spPr>
            <p:txBody>
              <a:bodyPr wrap="square" tIns="91440" bIns="91440" rtlCol="0">
                <a:spAutoFit/>
              </a:bodyPr>
              <a:lstStyle/>
              <a:p>
                <a:r>
                  <a:rPr lang="en-US" sz="1050" b="1" dirty="0">
                    <a:solidFill>
                      <a:schemeClr val="bg1"/>
                    </a:solidFill>
                  </a:rPr>
                  <a:t>NTRL</a:t>
                </a:r>
              </a:p>
            </p:txBody>
          </p:sp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72458AAC-FCC1-924D-D5A8-42562040723C}"/>
                  </a:ext>
                </a:extLst>
              </p:cNvPr>
              <p:cNvSpPr txBox="1"/>
              <p:nvPr/>
            </p:nvSpPr>
            <p:spPr>
              <a:xfrm>
                <a:off x="9030031" y="3990630"/>
                <a:ext cx="695864" cy="353943"/>
              </a:xfrm>
              <a:prstGeom prst="rect">
                <a:avLst/>
              </a:prstGeom>
              <a:noFill/>
            </p:spPr>
            <p:txBody>
              <a:bodyPr wrap="square" tIns="91440" bIns="91440" rtlCol="0">
                <a:spAutoFit/>
              </a:bodyPr>
              <a:lstStyle/>
              <a:p>
                <a:r>
                  <a:rPr lang="en-US" sz="1050" b="1" dirty="0">
                    <a:solidFill>
                      <a:schemeClr val="bg1"/>
                    </a:solidFill>
                  </a:rPr>
                  <a:t>RTRL</a:t>
                </a: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AC3AC6A4-5836-E5C8-CCEB-26814E631DCF}"/>
                  </a:ext>
                </a:extLst>
              </p:cNvPr>
              <p:cNvSpPr txBox="1"/>
              <p:nvPr/>
            </p:nvSpPr>
            <p:spPr>
              <a:xfrm>
                <a:off x="7940227" y="4628879"/>
                <a:ext cx="2875471" cy="353943"/>
              </a:xfrm>
              <a:prstGeom prst="rect">
                <a:avLst/>
              </a:prstGeom>
              <a:noFill/>
            </p:spPr>
            <p:txBody>
              <a:bodyPr wrap="square" tIns="91440" bIns="91440" rtlCol="0">
                <a:spAutoFit/>
              </a:bodyPr>
              <a:lstStyle/>
              <a:p>
                <a:pPr algn="ctr"/>
                <a:r>
                  <a:rPr lang="en-US" sz="1050" b="1" dirty="0">
                    <a:solidFill>
                      <a:schemeClr val="bg1"/>
                    </a:solidFill>
                  </a:rPr>
                  <a:t>Peripheral sites NAAT (Gx and Truenat)</a:t>
                </a: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4DFB6814-1B0B-0C0F-1B08-137E00C54DAB}"/>
                  </a:ext>
                </a:extLst>
              </p:cNvPr>
              <p:cNvSpPr txBox="1"/>
              <p:nvPr/>
            </p:nvSpPr>
            <p:spPr>
              <a:xfrm>
                <a:off x="9078913" y="2043549"/>
                <a:ext cx="695864" cy="353943"/>
              </a:xfrm>
              <a:prstGeom prst="rect">
                <a:avLst/>
              </a:prstGeom>
              <a:noFill/>
            </p:spPr>
            <p:txBody>
              <a:bodyPr wrap="square" tIns="91440" bIns="91440" rtlCol="0">
                <a:spAutoFit/>
              </a:bodyPr>
              <a:lstStyle/>
              <a:p>
                <a:r>
                  <a:rPr lang="en-US" sz="1050" b="1" dirty="0">
                    <a:solidFill>
                      <a:schemeClr val="bg1"/>
                    </a:solidFill>
                  </a:rPr>
                  <a:t>NTP</a:t>
                </a: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D79B22F2-FB0C-8DDF-44A3-09EE752E3FE8}"/>
                  </a:ext>
                </a:extLst>
              </p:cNvPr>
              <p:cNvSpPr/>
              <p:nvPr/>
            </p:nvSpPr>
            <p:spPr>
              <a:xfrm rot="6772309">
                <a:off x="5641233" y="3281095"/>
                <a:ext cx="5141576" cy="424933"/>
              </a:xfrm>
              <a:prstGeom prst="rect">
                <a:avLst/>
              </a:prstGeom>
              <a:solidFill>
                <a:srgbClr val="5A2259"/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050" dirty="0">
                    <a:solidFill>
                      <a:schemeClr val="tx1"/>
                    </a:solidFill>
                    <a:highlight>
                      <a:srgbClr val="FFFF00"/>
                    </a:highlight>
                    <a:latin typeface="Arial" pitchFamily="34" charset="0"/>
                    <a:cs typeface="Arial" pitchFamily="34" charset="0"/>
                  </a:rPr>
                  <a:t> HIERARCHY OF LAB REPORTING</a:t>
                </a:r>
              </a:p>
            </p:txBody>
          </p:sp>
        </p:grp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500EC72-A6D3-7F15-466A-ADB11E7F83BB}"/>
                </a:ext>
              </a:extLst>
            </p:cNvPr>
            <p:cNvCxnSpPr>
              <a:cxnSpLocks/>
            </p:cNvCxnSpPr>
            <p:nvPr/>
          </p:nvCxnSpPr>
          <p:spPr>
            <a:xfrm>
              <a:off x="7651237" y="5363164"/>
              <a:ext cx="3567369" cy="0"/>
            </a:xfrm>
            <a:prstGeom prst="line">
              <a:avLst/>
            </a:prstGeom>
            <a:ln>
              <a:solidFill>
                <a:schemeClr val="bg1"/>
              </a:solidFill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201F8DDC-666B-2DBE-40F9-CB2D35D36440}"/>
                </a:ext>
              </a:extLst>
            </p:cNvPr>
            <p:cNvSpPr txBox="1"/>
            <p:nvPr/>
          </p:nvSpPr>
          <p:spPr>
            <a:xfrm>
              <a:off x="7427979" y="5380471"/>
              <a:ext cx="3899966" cy="353943"/>
            </a:xfrm>
            <a:prstGeom prst="rect">
              <a:avLst/>
            </a:prstGeom>
            <a:noFill/>
          </p:spPr>
          <p:txBody>
            <a:bodyPr wrap="square" tIns="91440" bIns="91440" rtlCol="0">
              <a:spAutoFit/>
            </a:bodyPr>
            <a:lstStyle>
              <a:defPPr>
                <a:defRPr lang="en-US"/>
              </a:defPPr>
              <a:lvl1pPr algn="ctr">
                <a:defRPr sz="1400" b="1">
                  <a:solidFill>
                    <a:schemeClr val="bg1"/>
                  </a:solidFill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r>
                <a:rPr lang="en-US" sz="1050" dirty="0"/>
                <a:t>Peripheral sites Microscop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9190553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D912132-4AA1-7268-FD1E-949F007333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2709" y="1971588"/>
            <a:ext cx="11068539" cy="4591050"/>
          </a:xfrm>
        </p:spPr>
        <p:txBody>
          <a:bodyPr/>
          <a:lstStyle/>
          <a:p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17B41F4-3A55-6CBB-7D55-7DC39F11B9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92504"/>
            <a:ext cx="12192000" cy="5399917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BC2A2286-B62F-CAF3-B4DA-6A19A9C1A365}"/>
              </a:ext>
            </a:extLst>
          </p:cNvPr>
          <p:cNvSpPr txBox="1">
            <a:spLocks/>
          </p:cNvSpPr>
          <p:nvPr/>
        </p:nvSpPr>
        <p:spPr>
          <a:xfrm>
            <a:off x="1415441" y="319465"/>
            <a:ext cx="9131474" cy="694527"/>
          </a:xfrm>
          <a:prstGeom prst="rect">
            <a:avLst/>
          </a:prstGeom>
          <a:solidFill>
            <a:srgbClr val="3B680E"/>
          </a:solidFill>
          <a:ln w="9525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3600" b="0" cap="all" spc="3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microscopy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455E57A-7364-046E-360A-12A7295BA8FF}"/>
              </a:ext>
            </a:extLst>
          </p:cNvPr>
          <p:cNvSpPr/>
          <p:nvPr/>
        </p:nvSpPr>
        <p:spPr>
          <a:xfrm>
            <a:off x="0" y="1190304"/>
            <a:ext cx="12192000" cy="5348231"/>
          </a:xfrm>
          <a:prstGeom prst="rect">
            <a:avLst/>
          </a:prstGeom>
          <a:noFill/>
          <a:ln w="38100">
            <a:solidFill>
              <a:srgbClr val="7030A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083210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BC2A2286-B62F-CAF3-B4DA-6A19A9C1A365}"/>
              </a:ext>
            </a:extLst>
          </p:cNvPr>
          <p:cNvSpPr txBox="1">
            <a:spLocks/>
          </p:cNvSpPr>
          <p:nvPr/>
        </p:nvSpPr>
        <p:spPr>
          <a:xfrm>
            <a:off x="1921857" y="319465"/>
            <a:ext cx="8348285" cy="694527"/>
          </a:xfrm>
          <a:prstGeom prst="rect">
            <a:avLst/>
          </a:prstGeom>
          <a:solidFill>
            <a:srgbClr val="3B680E"/>
          </a:solidFill>
          <a:ln w="9525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3600" b="0" cap="all" spc="3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microscopy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68AEEB0-81BA-8EBC-5F07-ADC42E4F7CD2}"/>
              </a:ext>
            </a:extLst>
          </p:cNvPr>
          <p:cNvSpPr/>
          <p:nvPr/>
        </p:nvSpPr>
        <p:spPr>
          <a:xfrm>
            <a:off x="200416" y="1190304"/>
            <a:ext cx="11699065" cy="5348231"/>
          </a:xfrm>
          <a:prstGeom prst="rect">
            <a:avLst/>
          </a:prstGeom>
          <a:noFill/>
          <a:ln w="38100">
            <a:solidFill>
              <a:srgbClr val="7030A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A2E782A-A61F-00B0-A4EC-CBFF7E1198A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2C435EF-D84B-FAEB-5568-E29D9A9A4D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" y="1332910"/>
            <a:ext cx="11172091" cy="5046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12259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BC2A2286-B62F-CAF3-B4DA-6A19A9C1A365}"/>
              </a:ext>
            </a:extLst>
          </p:cNvPr>
          <p:cNvSpPr txBox="1">
            <a:spLocks/>
          </p:cNvSpPr>
          <p:nvPr/>
        </p:nvSpPr>
        <p:spPr>
          <a:xfrm>
            <a:off x="1921857" y="223927"/>
            <a:ext cx="8348285" cy="790065"/>
          </a:xfrm>
          <a:prstGeom prst="rect">
            <a:avLst/>
          </a:prstGeom>
          <a:solidFill>
            <a:srgbClr val="3B680E"/>
          </a:solidFill>
          <a:ln w="9525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3600" b="0" cap="all" spc="3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9pPr>
          </a:lstStyle>
          <a:p>
            <a:r>
              <a:rPr lang="en-US" dirty="0" err="1"/>
              <a:t>genexpert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E1D07D6-A896-198A-CB15-CC232AFA6D61}"/>
              </a:ext>
            </a:extLst>
          </p:cNvPr>
          <p:cNvSpPr/>
          <p:nvPr/>
        </p:nvSpPr>
        <p:spPr>
          <a:xfrm>
            <a:off x="862044" y="1190304"/>
            <a:ext cx="10667039" cy="5391888"/>
          </a:xfrm>
          <a:prstGeom prst="rect">
            <a:avLst/>
          </a:prstGeom>
          <a:noFill/>
          <a:ln w="38100">
            <a:solidFill>
              <a:srgbClr val="7030A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0F11322-497E-3A2F-5AF5-687B531C6C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2044" y="968829"/>
            <a:ext cx="10667039" cy="5708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30052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BC2A2286-B62F-CAF3-B4DA-6A19A9C1A365}"/>
              </a:ext>
            </a:extLst>
          </p:cNvPr>
          <p:cNvSpPr txBox="1">
            <a:spLocks/>
          </p:cNvSpPr>
          <p:nvPr/>
        </p:nvSpPr>
        <p:spPr>
          <a:xfrm>
            <a:off x="1921857" y="223927"/>
            <a:ext cx="8348285" cy="790065"/>
          </a:xfrm>
          <a:prstGeom prst="rect">
            <a:avLst/>
          </a:prstGeom>
          <a:solidFill>
            <a:srgbClr val="3B680E"/>
          </a:solidFill>
          <a:ln w="9525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3600" b="0" cap="all" spc="3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9pPr>
          </a:lstStyle>
          <a:p>
            <a:r>
              <a:rPr lang="en-US" dirty="0" err="1"/>
              <a:t>genexpert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78FC0AE-7AD5-8612-1BAF-A688C79B4C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2045" y="1270544"/>
            <a:ext cx="10667038" cy="5391888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8AFE96A-2DA4-79EE-90B1-B2979C52E195}"/>
              </a:ext>
            </a:extLst>
          </p:cNvPr>
          <p:cNvSpPr/>
          <p:nvPr/>
        </p:nvSpPr>
        <p:spPr>
          <a:xfrm>
            <a:off x="862044" y="1190304"/>
            <a:ext cx="10667039" cy="5472128"/>
          </a:xfrm>
          <a:prstGeom prst="rect">
            <a:avLst/>
          </a:prstGeom>
          <a:noFill/>
          <a:ln w="38100">
            <a:solidFill>
              <a:srgbClr val="7030A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31153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BC2A2286-B62F-CAF3-B4DA-6A19A9C1A365}"/>
              </a:ext>
            </a:extLst>
          </p:cNvPr>
          <p:cNvSpPr txBox="1">
            <a:spLocks/>
          </p:cNvSpPr>
          <p:nvPr/>
        </p:nvSpPr>
        <p:spPr>
          <a:xfrm>
            <a:off x="1921857" y="223927"/>
            <a:ext cx="8348285" cy="790065"/>
          </a:xfrm>
          <a:prstGeom prst="rect">
            <a:avLst/>
          </a:prstGeom>
          <a:solidFill>
            <a:srgbClr val="3B680E"/>
          </a:solidFill>
          <a:ln w="9525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3600" b="0" cap="all" spc="3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9pPr>
          </a:lstStyle>
          <a:p>
            <a:r>
              <a:rPr lang="en-US" dirty="0" err="1"/>
              <a:t>Genexpert</a:t>
            </a:r>
            <a:r>
              <a:rPr lang="en-US" dirty="0"/>
              <a:t>-XD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0073022-19BE-3CE9-1CCC-710AB32B3E01}"/>
              </a:ext>
            </a:extLst>
          </p:cNvPr>
          <p:cNvSpPr/>
          <p:nvPr/>
        </p:nvSpPr>
        <p:spPr>
          <a:xfrm>
            <a:off x="1019399" y="1190304"/>
            <a:ext cx="9978453" cy="5391888"/>
          </a:xfrm>
          <a:prstGeom prst="rect">
            <a:avLst/>
          </a:prstGeom>
          <a:noFill/>
          <a:ln w="38100">
            <a:solidFill>
              <a:srgbClr val="7030A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2AC1019-66CF-671E-1B3A-39FFB8A33D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5587" y="1013992"/>
            <a:ext cx="9246075" cy="5512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668669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BC2A2286-B62F-CAF3-B4DA-6A19A9C1A365}"/>
              </a:ext>
            </a:extLst>
          </p:cNvPr>
          <p:cNvSpPr txBox="1">
            <a:spLocks/>
          </p:cNvSpPr>
          <p:nvPr/>
        </p:nvSpPr>
        <p:spPr>
          <a:xfrm>
            <a:off x="1921857" y="223927"/>
            <a:ext cx="8348285" cy="790065"/>
          </a:xfrm>
          <a:prstGeom prst="rect">
            <a:avLst/>
          </a:prstGeom>
          <a:solidFill>
            <a:srgbClr val="3B680E"/>
          </a:solidFill>
          <a:ln w="9525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3600" b="0" cap="all" spc="3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Truena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0073022-19BE-3CE9-1CCC-710AB32B3E01}"/>
              </a:ext>
            </a:extLst>
          </p:cNvPr>
          <p:cNvSpPr/>
          <p:nvPr/>
        </p:nvSpPr>
        <p:spPr>
          <a:xfrm>
            <a:off x="1019399" y="1190304"/>
            <a:ext cx="9978453" cy="5391888"/>
          </a:xfrm>
          <a:prstGeom prst="rect">
            <a:avLst/>
          </a:prstGeom>
          <a:noFill/>
          <a:ln w="38100">
            <a:solidFill>
              <a:srgbClr val="7030A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6D66A51-E2FE-F45D-288F-AF4F125DD7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68181" y="1263563"/>
            <a:ext cx="9455636" cy="5245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75363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BC2A2286-B62F-CAF3-B4DA-6A19A9C1A365}"/>
              </a:ext>
            </a:extLst>
          </p:cNvPr>
          <p:cNvSpPr txBox="1">
            <a:spLocks/>
          </p:cNvSpPr>
          <p:nvPr/>
        </p:nvSpPr>
        <p:spPr>
          <a:xfrm>
            <a:off x="1921857" y="223927"/>
            <a:ext cx="8348285" cy="790065"/>
          </a:xfrm>
          <a:prstGeom prst="rect">
            <a:avLst/>
          </a:prstGeom>
          <a:solidFill>
            <a:srgbClr val="3B680E"/>
          </a:solidFill>
          <a:ln>
            <a:solidFill>
              <a:schemeClr val="accent1"/>
            </a:solidFill>
          </a:ln>
        </p:spPr>
        <p:txBody>
          <a:bodyPr anchor="ctr" anchorCtr="0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4000" dirty="0">
                <a:solidFill>
                  <a:schemeClr val="bg1"/>
                </a:solidFill>
              </a:rPr>
              <a:t>FL-LPA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095B9A0-2492-B6A8-35B6-148AC3871EF9}"/>
              </a:ext>
            </a:extLst>
          </p:cNvPr>
          <p:cNvSpPr/>
          <p:nvPr/>
        </p:nvSpPr>
        <p:spPr>
          <a:xfrm>
            <a:off x="801666" y="1227549"/>
            <a:ext cx="10822877" cy="5442325"/>
          </a:xfrm>
          <a:prstGeom prst="rect">
            <a:avLst/>
          </a:prstGeom>
          <a:noFill/>
          <a:ln w="38100">
            <a:solidFill>
              <a:srgbClr val="7030A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70542E1-E4A7-1589-A851-697520D856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8935" y="1347888"/>
            <a:ext cx="9468337" cy="4902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536611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BC2A2286-B62F-CAF3-B4DA-6A19A9C1A365}"/>
              </a:ext>
            </a:extLst>
          </p:cNvPr>
          <p:cNvSpPr txBox="1">
            <a:spLocks/>
          </p:cNvSpPr>
          <p:nvPr/>
        </p:nvSpPr>
        <p:spPr>
          <a:xfrm>
            <a:off x="1921857" y="223927"/>
            <a:ext cx="8348285" cy="790065"/>
          </a:xfrm>
          <a:prstGeom prst="rect">
            <a:avLst/>
          </a:prstGeom>
          <a:solidFill>
            <a:srgbClr val="3B680E"/>
          </a:solidFill>
          <a:ln>
            <a:solidFill>
              <a:schemeClr val="accent1"/>
            </a:solidFill>
          </a:ln>
        </p:spPr>
        <p:txBody>
          <a:bodyPr anchor="ctr" anchorCtr="0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4000" dirty="0">
                <a:solidFill>
                  <a:schemeClr val="bg1"/>
                </a:solidFill>
              </a:rPr>
              <a:t>FL-LPA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095B9A0-2492-B6A8-35B6-148AC3871EF9}"/>
              </a:ext>
            </a:extLst>
          </p:cNvPr>
          <p:cNvSpPr/>
          <p:nvPr/>
        </p:nvSpPr>
        <p:spPr>
          <a:xfrm>
            <a:off x="801666" y="1227549"/>
            <a:ext cx="10822877" cy="5442325"/>
          </a:xfrm>
          <a:prstGeom prst="rect">
            <a:avLst/>
          </a:prstGeom>
          <a:noFill/>
          <a:ln w="38100">
            <a:solidFill>
              <a:srgbClr val="7030A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98FF887-C1ED-0286-EF05-7B0016F44A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6235" y="1386402"/>
            <a:ext cx="9493738" cy="5283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89116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BC2A2286-B62F-CAF3-B4DA-6A19A9C1A365}"/>
              </a:ext>
            </a:extLst>
          </p:cNvPr>
          <p:cNvSpPr txBox="1">
            <a:spLocks/>
          </p:cNvSpPr>
          <p:nvPr/>
        </p:nvSpPr>
        <p:spPr>
          <a:xfrm>
            <a:off x="1921857" y="223927"/>
            <a:ext cx="8348285" cy="790065"/>
          </a:xfrm>
          <a:prstGeom prst="rect">
            <a:avLst/>
          </a:prstGeom>
          <a:solidFill>
            <a:srgbClr val="3B680E"/>
          </a:solidFill>
          <a:ln>
            <a:solidFill>
              <a:schemeClr val="accent1"/>
            </a:solidFill>
          </a:ln>
        </p:spPr>
        <p:txBody>
          <a:bodyPr anchor="ctr" anchorCtr="0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4000" dirty="0">
                <a:solidFill>
                  <a:schemeClr val="bg1"/>
                </a:solidFill>
              </a:rPr>
              <a:t>FL-LPA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095B9A0-2492-B6A8-35B6-148AC3871EF9}"/>
              </a:ext>
            </a:extLst>
          </p:cNvPr>
          <p:cNvSpPr/>
          <p:nvPr/>
        </p:nvSpPr>
        <p:spPr>
          <a:xfrm>
            <a:off x="801666" y="1227549"/>
            <a:ext cx="10822877" cy="5442325"/>
          </a:xfrm>
          <a:prstGeom prst="rect">
            <a:avLst/>
          </a:prstGeom>
          <a:noFill/>
          <a:ln w="38100">
            <a:solidFill>
              <a:srgbClr val="7030A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BC62583-F89C-D99D-A41F-9BB439BCAF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5321" y="1115195"/>
            <a:ext cx="9055565" cy="5302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172755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BC2A2286-B62F-CAF3-B4DA-6A19A9C1A365}"/>
              </a:ext>
            </a:extLst>
          </p:cNvPr>
          <p:cNvSpPr txBox="1">
            <a:spLocks/>
          </p:cNvSpPr>
          <p:nvPr/>
        </p:nvSpPr>
        <p:spPr>
          <a:xfrm>
            <a:off x="1921857" y="223927"/>
            <a:ext cx="8348285" cy="790065"/>
          </a:xfrm>
          <a:prstGeom prst="rect">
            <a:avLst/>
          </a:prstGeom>
          <a:solidFill>
            <a:srgbClr val="3B680E"/>
          </a:solidFill>
          <a:ln>
            <a:solidFill>
              <a:schemeClr val="accent1"/>
            </a:solidFill>
          </a:ln>
        </p:spPr>
        <p:txBody>
          <a:bodyPr anchor="ctr" anchorCtr="0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4000" dirty="0">
                <a:solidFill>
                  <a:schemeClr val="bg1"/>
                </a:solidFill>
              </a:rPr>
              <a:t>SL-LPA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095B9A0-2492-B6A8-35B6-148AC3871EF9}"/>
              </a:ext>
            </a:extLst>
          </p:cNvPr>
          <p:cNvSpPr/>
          <p:nvPr/>
        </p:nvSpPr>
        <p:spPr>
          <a:xfrm>
            <a:off x="801666" y="1227549"/>
            <a:ext cx="10822877" cy="5442325"/>
          </a:xfrm>
          <a:prstGeom prst="rect">
            <a:avLst/>
          </a:prstGeom>
          <a:noFill/>
          <a:ln w="38100">
            <a:solidFill>
              <a:srgbClr val="7030A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810D95A-609B-FAD4-8BB4-7C81F58415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1964" y="1492135"/>
            <a:ext cx="9322279" cy="4483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97720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BDEE63-6B04-E066-075A-C48C5ABBC3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-108650" y="3732524"/>
            <a:ext cx="11068539" cy="2733056"/>
          </a:xfrm>
          <a:noFill/>
        </p:spPr>
        <p:txBody>
          <a:bodyPr wrap="square" tIns="91440" bIns="91440" rtlCol="0">
            <a:spAutoFit/>
          </a:bodyPr>
          <a:lstStyle/>
          <a:p>
            <a:pPr marL="742950" marR="0" lvl="1" indent="-285750" algn="just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800" dirty="0">
                <a:effectLst/>
                <a:latin typeface="Calibri" panose="020F0502020204030204" pitchFamily="34" charset="0"/>
                <a:ea typeface="Sylfaen" panose="010A0502050306030303" pitchFamily="18" charset="0"/>
                <a:cs typeface="Calibri" panose="020F0502020204030204" pitchFamily="34" charset="0"/>
              </a:rPr>
              <a:t>Lack of real time reporting 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742950" marR="0" lvl="1" indent="-285750" algn="just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800" dirty="0">
                <a:effectLst/>
                <a:latin typeface="Calibri" panose="020F0502020204030204" pitchFamily="34" charset="0"/>
                <a:ea typeface="Sylfaen" panose="010A0502050306030303" pitchFamily="18" charset="0"/>
                <a:cs typeface="Calibri" panose="020F0502020204030204" pitchFamily="34" charset="0"/>
              </a:rPr>
              <a:t>Lack of uniformity in recording reporting.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742950" marR="0" lvl="1" indent="-285750" algn="just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800" dirty="0">
                <a:effectLst/>
                <a:latin typeface="Calibri" panose="020F0502020204030204" pitchFamily="34" charset="0"/>
                <a:ea typeface="Sylfaen" panose="010A0502050306030303" pitchFamily="18" charset="0"/>
                <a:cs typeface="Calibri" panose="020F0502020204030204" pitchFamily="34" charset="0"/>
              </a:rPr>
              <a:t>Delay in recording and reporting to NTP. 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742950" marR="0" lvl="1" indent="-285750" algn="just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800" dirty="0">
                <a:effectLst/>
                <a:latin typeface="Calibri" panose="020F0502020204030204" pitchFamily="34" charset="0"/>
                <a:ea typeface="Sylfaen" panose="010A0502050306030303" pitchFamily="18" charset="0"/>
                <a:cs typeface="Calibri" panose="020F0502020204030204" pitchFamily="34" charset="0"/>
              </a:rPr>
              <a:t>Tedious efforts in monitoring and evaluation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742950" marR="0" lvl="1" indent="-285750" algn="just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800" dirty="0">
                <a:effectLst/>
                <a:latin typeface="Calibri" panose="020F0502020204030204" pitchFamily="34" charset="0"/>
                <a:ea typeface="Sylfaen" panose="010A0502050306030303" pitchFamily="18" charset="0"/>
                <a:cs typeface="Calibri" panose="020F0502020204030204" pitchFamily="34" charset="0"/>
              </a:rPr>
              <a:t>Longer time for analysis of quality indicators for decision making.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742950" marR="0" lvl="1" indent="-285750" algn="just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800" dirty="0">
                <a:effectLst/>
                <a:latin typeface="Calibri" panose="020F0502020204030204" pitchFamily="34" charset="0"/>
                <a:ea typeface="Sylfaen" panose="010A0502050306030303" pitchFamily="18" charset="0"/>
                <a:cs typeface="Calibri" panose="020F0502020204030204" pitchFamily="34" charset="0"/>
              </a:rPr>
              <a:t>Lack of integrations with various software’s like E-TB Manager, DHIS-2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742950" marR="0" lvl="1" indent="-285750" algn="just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800" dirty="0">
                <a:effectLst/>
                <a:latin typeface="Calibri" panose="020F0502020204030204" pitchFamily="34" charset="0"/>
                <a:ea typeface="Sylfaen" panose="010A0502050306030303" pitchFamily="18" charset="0"/>
                <a:cs typeface="Calibri" panose="020F0502020204030204" pitchFamily="34" charset="0"/>
              </a:rPr>
              <a:t>Lack of capturing key indicators 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742950" marR="0" lvl="1" indent="-285750" algn="just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800" dirty="0">
                <a:effectLst/>
                <a:latin typeface="Calibri" panose="020F0502020204030204" pitchFamily="34" charset="0"/>
                <a:ea typeface="Sylfaen" panose="010A0502050306030303" pitchFamily="18" charset="0"/>
                <a:cs typeface="Calibri" panose="020F0502020204030204" pitchFamily="34" charset="0"/>
              </a:rPr>
              <a:t>Lack Automatic generation of aggregated reports from C&amp;DST TB Labs</a:t>
            </a:r>
            <a:endParaRPr lang="en-US" sz="1800" dirty="0">
              <a:latin typeface="Calibri" panose="020F0502020204030204" pitchFamily="34" charset="0"/>
              <a:ea typeface="Sylfaen" panose="010A0502050306030303" pitchFamily="18" charset="0"/>
              <a:cs typeface="Calibri" panose="020F0502020204030204" pitchFamily="34" charset="0"/>
            </a:endParaRPr>
          </a:p>
          <a:p>
            <a:pPr marL="742950" marR="0" lvl="1" indent="-285750" algn="just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800" dirty="0">
                <a:effectLst/>
                <a:latin typeface="Calibri" panose="020F0502020204030204" pitchFamily="34" charset="0"/>
                <a:ea typeface="Sylfaen" panose="010A0502050306030303" pitchFamily="18" charset="0"/>
              </a:rPr>
              <a:t>Lack Automatic output of form 6 and DR-TB10A,10B.</a:t>
            </a:r>
            <a:endParaRPr lang="en-US" b="1" dirty="0">
              <a:solidFill>
                <a:srgbClr val="000000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4E3CAEA-08EA-5F12-4636-FD04D336CC72}"/>
              </a:ext>
            </a:extLst>
          </p:cNvPr>
          <p:cNvSpPr/>
          <p:nvPr/>
        </p:nvSpPr>
        <p:spPr>
          <a:xfrm>
            <a:off x="1402915" y="363255"/>
            <a:ext cx="9081370" cy="676406"/>
          </a:xfrm>
          <a:prstGeom prst="rect">
            <a:avLst/>
          </a:prstGeom>
          <a:solidFill>
            <a:srgbClr val="3B680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urrent status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8409401-84DD-ACA2-1EB0-58244DD2F79E}"/>
              </a:ext>
            </a:extLst>
          </p:cNvPr>
          <p:cNvSpPr txBox="1"/>
          <p:nvPr/>
        </p:nvSpPr>
        <p:spPr>
          <a:xfrm>
            <a:off x="201282" y="1431985"/>
            <a:ext cx="10898039" cy="1908215"/>
          </a:xfrm>
          <a:prstGeom prst="rect">
            <a:avLst/>
          </a:prstGeom>
          <a:noFill/>
        </p:spPr>
        <p:txBody>
          <a:bodyPr wrap="square" tIns="91440" bIns="91440" rtlCol="0">
            <a:spAutoFit/>
          </a:bodyPr>
          <a:lstStyle/>
          <a:p>
            <a:r>
              <a:rPr lang="en-US" sz="1400" b="1" dirty="0">
                <a:solidFill>
                  <a:srgbClr val="000000"/>
                </a:solidFill>
              </a:rPr>
              <a:t>Data flow recording and reporting at various levels</a:t>
            </a:r>
          </a:p>
          <a:p>
            <a:endParaRPr lang="en-US" sz="1400" b="1" dirty="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000000"/>
                </a:solidFill>
              </a:rPr>
              <a:t>Microscopy centers : Paper based  recording and reportin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 dirty="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000000"/>
                </a:solidFill>
              </a:rPr>
              <a:t>NAAT TB testing centers: ASPECT and Paper Base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 dirty="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000000"/>
                </a:solidFill>
              </a:rPr>
              <a:t>RTRLs/NTRLs : Excel and Paper Based </a:t>
            </a:r>
          </a:p>
          <a:p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5E62C13-70E7-346C-E66A-163D0B0F217B}"/>
              </a:ext>
            </a:extLst>
          </p:cNvPr>
          <p:cNvSpPr txBox="1"/>
          <p:nvPr/>
        </p:nvSpPr>
        <p:spPr>
          <a:xfrm>
            <a:off x="149524" y="3302357"/>
            <a:ext cx="2277374" cy="430887"/>
          </a:xfrm>
          <a:prstGeom prst="rect">
            <a:avLst/>
          </a:prstGeom>
          <a:solidFill>
            <a:srgbClr val="FFFF00"/>
          </a:solidFill>
        </p:spPr>
        <p:txBody>
          <a:bodyPr wrap="square" tIns="91440" bIns="91440" rtlCol="0">
            <a:spAutoFit/>
          </a:bodyPr>
          <a:lstStyle/>
          <a:p>
            <a:r>
              <a:rPr lang="en-US" sz="1600" b="1" dirty="0">
                <a:solidFill>
                  <a:srgbClr val="000000"/>
                </a:solidFill>
              </a:rPr>
              <a:t>Gaps and Challenges </a:t>
            </a:r>
          </a:p>
        </p:txBody>
      </p:sp>
    </p:spTree>
    <p:extLst>
      <p:ext uri="{BB962C8B-B14F-4D97-AF65-F5344CB8AC3E}">
        <p14:creationId xmlns:p14="http://schemas.microsoft.com/office/powerpoint/2010/main" val="361374324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BC2A2286-B62F-CAF3-B4DA-6A19A9C1A365}"/>
              </a:ext>
            </a:extLst>
          </p:cNvPr>
          <p:cNvSpPr txBox="1">
            <a:spLocks/>
          </p:cNvSpPr>
          <p:nvPr/>
        </p:nvSpPr>
        <p:spPr>
          <a:xfrm>
            <a:off x="1921857" y="223927"/>
            <a:ext cx="8348285" cy="790065"/>
          </a:xfrm>
          <a:prstGeom prst="rect">
            <a:avLst/>
          </a:prstGeom>
          <a:solidFill>
            <a:srgbClr val="3B680E"/>
          </a:solidFill>
          <a:ln>
            <a:solidFill>
              <a:schemeClr val="accent1"/>
            </a:solidFill>
          </a:ln>
        </p:spPr>
        <p:txBody>
          <a:bodyPr anchor="ctr" anchorCtr="0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4000" dirty="0">
                <a:solidFill>
                  <a:schemeClr val="bg1"/>
                </a:solidFill>
              </a:rPr>
              <a:t>SL-LPA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095B9A0-2492-B6A8-35B6-148AC3871EF9}"/>
              </a:ext>
            </a:extLst>
          </p:cNvPr>
          <p:cNvSpPr/>
          <p:nvPr/>
        </p:nvSpPr>
        <p:spPr>
          <a:xfrm>
            <a:off x="801666" y="1227549"/>
            <a:ext cx="10822877" cy="5442325"/>
          </a:xfrm>
          <a:prstGeom prst="rect">
            <a:avLst/>
          </a:prstGeom>
          <a:noFill/>
          <a:ln w="38100">
            <a:solidFill>
              <a:srgbClr val="7030A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82552EF-F711-42C4-8D99-702680C438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06318" y="1443555"/>
            <a:ext cx="8979361" cy="5226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414377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BC2A2286-B62F-CAF3-B4DA-6A19A9C1A365}"/>
              </a:ext>
            </a:extLst>
          </p:cNvPr>
          <p:cNvSpPr txBox="1">
            <a:spLocks/>
          </p:cNvSpPr>
          <p:nvPr/>
        </p:nvSpPr>
        <p:spPr>
          <a:xfrm>
            <a:off x="1921857" y="223927"/>
            <a:ext cx="8348285" cy="790065"/>
          </a:xfrm>
          <a:prstGeom prst="rect">
            <a:avLst/>
          </a:prstGeom>
          <a:solidFill>
            <a:srgbClr val="3B680E"/>
          </a:solidFill>
          <a:ln>
            <a:solidFill>
              <a:schemeClr val="accent1"/>
            </a:solidFill>
          </a:ln>
        </p:spPr>
        <p:txBody>
          <a:bodyPr anchor="ctr" anchorCtr="0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4000" dirty="0">
                <a:solidFill>
                  <a:schemeClr val="bg1"/>
                </a:solidFill>
              </a:rPr>
              <a:t>SL-LPA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095B9A0-2492-B6A8-35B6-148AC3871EF9}"/>
              </a:ext>
            </a:extLst>
          </p:cNvPr>
          <p:cNvSpPr/>
          <p:nvPr/>
        </p:nvSpPr>
        <p:spPr>
          <a:xfrm>
            <a:off x="801666" y="1227549"/>
            <a:ext cx="10822877" cy="5442325"/>
          </a:xfrm>
          <a:prstGeom prst="rect">
            <a:avLst/>
          </a:prstGeom>
          <a:noFill/>
          <a:ln w="38100">
            <a:solidFill>
              <a:srgbClr val="7030A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A5BA8B1-3D93-1CAF-F330-374FA3DBFB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25369" y="1227549"/>
            <a:ext cx="8941260" cy="5493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97860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BC2A2286-B62F-CAF3-B4DA-6A19A9C1A365}"/>
              </a:ext>
            </a:extLst>
          </p:cNvPr>
          <p:cNvSpPr txBox="1">
            <a:spLocks/>
          </p:cNvSpPr>
          <p:nvPr/>
        </p:nvSpPr>
        <p:spPr>
          <a:xfrm>
            <a:off x="1921857" y="223927"/>
            <a:ext cx="8348285" cy="790065"/>
          </a:xfrm>
          <a:prstGeom prst="rect">
            <a:avLst/>
          </a:prstGeom>
          <a:solidFill>
            <a:srgbClr val="3B680E"/>
          </a:solidFill>
          <a:ln>
            <a:solidFill>
              <a:schemeClr val="accent1"/>
            </a:solidFill>
          </a:ln>
        </p:spPr>
        <p:txBody>
          <a:bodyPr anchor="ctr" anchorCtr="0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2800" dirty="0" err="1">
                <a:solidFill>
                  <a:schemeClr val="bg1"/>
                </a:solidFill>
              </a:rPr>
              <a:t>Afb</a:t>
            </a:r>
            <a:r>
              <a:rPr lang="en-US" sz="2800" dirty="0">
                <a:solidFill>
                  <a:schemeClr val="bg1"/>
                </a:solidFill>
              </a:rPr>
              <a:t> </a:t>
            </a:r>
            <a:r>
              <a:rPr lang="en-US" sz="2800" dirty="0" err="1">
                <a:solidFill>
                  <a:schemeClr val="bg1"/>
                </a:solidFill>
              </a:rPr>
              <a:t>CuLTURE</a:t>
            </a:r>
            <a:r>
              <a:rPr lang="en-US" sz="2800" dirty="0">
                <a:solidFill>
                  <a:schemeClr val="bg1"/>
                </a:solidFill>
              </a:rPr>
              <a:t> (BOTH SOLID AND LIQUID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095B9A0-2492-B6A8-35B6-148AC3871EF9}"/>
              </a:ext>
            </a:extLst>
          </p:cNvPr>
          <p:cNvSpPr/>
          <p:nvPr/>
        </p:nvSpPr>
        <p:spPr>
          <a:xfrm>
            <a:off x="801666" y="1227549"/>
            <a:ext cx="10822877" cy="5442325"/>
          </a:xfrm>
          <a:prstGeom prst="rect">
            <a:avLst/>
          </a:prstGeom>
          <a:noFill/>
          <a:ln w="38100">
            <a:solidFill>
              <a:srgbClr val="7030A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7A4F66E-1579-931B-77E4-3E7A667BF2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61490" y="1227549"/>
            <a:ext cx="9303228" cy="5315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717559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095B9A0-2492-B6A8-35B6-148AC3871EF9}"/>
              </a:ext>
            </a:extLst>
          </p:cNvPr>
          <p:cNvSpPr/>
          <p:nvPr/>
        </p:nvSpPr>
        <p:spPr>
          <a:xfrm>
            <a:off x="801666" y="1227549"/>
            <a:ext cx="10822877" cy="5442325"/>
          </a:xfrm>
          <a:prstGeom prst="rect">
            <a:avLst/>
          </a:prstGeom>
          <a:noFill/>
          <a:ln w="38100">
            <a:solidFill>
              <a:srgbClr val="7030A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5051C7C-5359-ACBE-F1A6-BF3091A290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1666" y="1227550"/>
            <a:ext cx="10822876" cy="5336088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09E94FFE-41B8-2CE5-1F4E-F644FFB1978F}"/>
              </a:ext>
            </a:extLst>
          </p:cNvPr>
          <p:cNvSpPr txBox="1">
            <a:spLocks/>
          </p:cNvSpPr>
          <p:nvPr/>
        </p:nvSpPr>
        <p:spPr>
          <a:xfrm>
            <a:off x="1921857" y="161297"/>
            <a:ext cx="8348285" cy="790065"/>
          </a:xfrm>
          <a:prstGeom prst="rect">
            <a:avLst/>
          </a:prstGeom>
          <a:solidFill>
            <a:srgbClr val="3B680E"/>
          </a:solidFill>
          <a:ln>
            <a:solidFill>
              <a:schemeClr val="accent1"/>
            </a:solidFill>
          </a:ln>
        </p:spPr>
        <p:txBody>
          <a:bodyPr anchor="ctr" anchorCtr="0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2800" dirty="0">
                <a:solidFill>
                  <a:schemeClr val="bg1"/>
                </a:solidFill>
              </a:rPr>
              <a:t>DRUG SUSCIPTIBILITY TESTING              (BOTH SOLID AND LIQUID)</a:t>
            </a:r>
          </a:p>
        </p:txBody>
      </p:sp>
    </p:spTree>
    <p:extLst>
      <p:ext uri="{BB962C8B-B14F-4D97-AF65-F5344CB8AC3E}">
        <p14:creationId xmlns:p14="http://schemas.microsoft.com/office/powerpoint/2010/main" val="169899949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095B9A0-2492-B6A8-35B6-148AC3871EF9}"/>
              </a:ext>
            </a:extLst>
          </p:cNvPr>
          <p:cNvSpPr/>
          <p:nvPr/>
        </p:nvSpPr>
        <p:spPr>
          <a:xfrm>
            <a:off x="801666" y="1227549"/>
            <a:ext cx="10822877" cy="5442325"/>
          </a:xfrm>
          <a:prstGeom prst="rect">
            <a:avLst/>
          </a:prstGeom>
          <a:noFill/>
          <a:ln w="38100">
            <a:solidFill>
              <a:srgbClr val="7030A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9E94FFE-41B8-2CE5-1F4E-F644FFB1978F}"/>
              </a:ext>
            </a:extLst>
          </p:cNvPr>
          <p:cNvSpPr txBox="1">
            <a:spLocks/>
          </p:cNvSpPr>
          <p:nvPr/>
        </p:nvSpPr>
        <p:spPr>
          <a:xfrm>
            <a:off x="1921857" y="161297"/>
            <a:ext cx="8348285" cy="790065"/>
          </a:xfrm>
          <a:prstGeom prst="rect">
            <a:avLst/>
          </a:prstGeom>
          <a:solidFill>
            <a:srgbClr val="3B680E"/>
          </a:solidFill>
          <a:ln>
            <a:solidFill>
              <a:schemeClr val="accent1"/>
            </a:solidFill>
          </a:ln>
        </p:spPr>
        <p:txBody>
          <a:bodyPr anchor="ctr" anchorCtr="0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2800" dirty="0">
                <a:solidFill>
                  <a:schemeClr val="bg1"/>
                </a:solidFill>
              </a:rPr>
              <a:t>BMW LIST SAMPLE WIS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BFCB94C-1308-DA65-7462-6F6709A6B1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0080" y="1777915"/>
            <a:ext cx="9531840" cy="3302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85008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095B9A0-2492-B6A8-35B6-148AC3871EF9}"/>
              </a:ext>
            </a:extLst>
          </p:cNvPr>
          <p:cNvSpPr/>
          <p:nvPr/>
        </p:nvSpPr>
        <p:spPr>
          <a:xfrm>
            <a:off x="801666" y="1227549"/>
            <a:ext cx="10822877" cy="5442325"/>
          </a:xfrm>
          <a:prstGeom prst="rect">
            <a:avLst/>
          </a:prstGeom>
          <a:noFill/>
          <a:ln w="38100">
            <a:solidFill>
              <a:srgbClr val="7030A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9E94FFE-41B8-2CE5-1F4E-F644FFB1978F}"/>
              </a:ext>
            </a:extLst>
          </p:cNvPr>
          <p:cNvSpPr txBox="1">
            <a:spLocks/>
          </p:cNvSpPr>
          <p:nvPr/>
        </p:nvSpPr>
        <p:spPr>
          <a:xfrm>
            <a:off x="1921857" y="161297"/>
            <a:ext cx="8348285" cy="790065"/>
          </a:xfrm>
          <a:prstGeom prst="rect">
            <a:avLst/>
          </a:prstGeom>
          <a:solidFill>
            <a:srgbClr val="3B680E"/>
          </a:solidFill>
          <a:ln>
            <a:solidFill>
              <a:schemeClr val="accent1"/>
            </a:solidFill>
          </a:ln>
        </p:spPr>
        <p:txBody>
          <a:bodyPr anchor="ctr" anchorCtr="0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2800" dirty="0">
                <a:solidFill>
                  <a:schemeClr val="bg1"/>
                </a:solidFill>
              </a:rPr>
              <a:t>Add BMW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01A13C5-FC9D-2C1F-CCDB-B85C0B391C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841" y="1102065"/>
            <a:ext cx="12154525" cy="5594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27360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09E94FFE-41B8-2CE5-1F4E-F644FFB1978F}"/>
              </a:ext>
            </a:extLst>
          </p:cNvPr>
          <p:cNvSpPr txBox="1">
            <a:spLocks/>
          </p:cNvSpPr>
          <p:nvPr/>
        </p:nvSpPr>
        <p:spPr>
          <a:xfrm>
            <a:off x="1921857" y="161297"/>
            <a:ext cx="8348285" cy="790065"/>
          </a:xfrm>
          <a:prstGeom prst="rect">
            <a:avLst/>
          </a:prstGeom>
          <a:solidFill>
            <a:srgbClr val="3B680E"/>
          </a:solidFill>
          <a:ln>
            <a:solidFill>
              <a:schemeClr val="accent1"/>
            </a:solidFill>
          </a:ln>
        </p:spPr>
        <p:txBody>
          <a:bodyPr anchor="ctr" anchorCtr="0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2800" dirty="0">
                <a:solidFill>
                  <a:schemeClr val="bg1"/>
                </a:solidFill>
              </a:rPr>
              <a:t>BMW LIS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A5C613B-7216-D93F-C756-FB925CE3F9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7119" y="1325218"/>
            <a:ext cx="12071970" cy="4534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569899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09E94FFE-41B8-2CE5-1F4E-F644FFB1978F}"/>
              </a:ext>
            </a:extLst>
          </p:cNvPr>
          <p:cNvSpPr txBox="1">
            <a:spLocks/>
          </p:cNvSpPr>
          <p:nvPr/>
        </p:nvSpPr>
        <p:spPr>
          <a:xfrm>
            <a:off x="1921857" y="161297"/>
            <a:ext cx="8348285" cy="790065"/>
          </a:xfrm>
          <a:prstGeom prst="rect">
            <a:avLst/>
          </a:prstGeom>
          <a:solidFill>
            <a:srgbClr val="3B680E"/>
          </a:solidFill>
          <a:ln>
            <a:solidFill>
              <a:schemeClr val="accent1"/>
            </a:solidFill>
          </a:ln>
        </p:spPr>
        <p:txBody>
          <a:bodyPr anchor="ctr" anchorCtr="0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2800" dirty="0">
                <a:solidFill>
                  <a:schemeClr val="bg1"/>
                </a:solidFill>
              </a:rPr>
              <a:t>Add mail Confi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241BB0F-546B-1AFD-4489-516FC6192D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0235" y="1317050"/>
            <a:ext cx="11659365" cy="4724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278939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09E94FFE-41B8-2CE5-1F4E-F644FFB1978F}"/>
              </a:ext>
            </a:extLst>
          </p:cNvPr>
          <p:cNvSpPr txBox="1">
            <a:spLocks/>
          </p:cNvSpPr>
          <p:nvPr/>
        </p:nvSpPr>
        <p:spPr>
          <a:xfrm>
            <a:off x="1921857" y="161297"/>
            <a:ext cx="8348285" cy="790065"/>
          </a:xfrm>
          <a:prstGeom prst="rect">
            <a:avLst/>
          </a:prstGeom>
          <a:solidFill>
            <a:srgbClr val="3B680E"/>
          </a:solidFill>
          <a:ln>
            <a:solidFill>
              <a:schemeClr val="accent1"/>
            </a:solidFill>
          </a:ln>
        </p:spPr>
        <p:txBody>
          <a:bodyPr anchor="ctr" anchorCtr="0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2800" dirty="0">
                <a:solidFill>
                  <a:schemeClr val="bg1"/>
                </a:solidFill>
              </a:rPr>
              <a:t>Microbiologis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FD4B451-96F4-59C8-2C98-39CAD57CBF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39" y="1053802"/>
            <a:ext cx="12052919" cy="5804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73509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095B9A0-2492-B6A8-35B6-148AC3871EF9}"/>
              </a:ext>
            </a:extLst>
          </p:cNvPr>
          <p:cNvSpPr/>
          <p:nvPr/>
        </p:nvSpPr>
        <p:spPr>
          <a:xfrm>
            <a:off x="801666" y="1227549"/>
            <a:ext cx="10822877" cy="5442325"/>
          </a:xfrm>
          <a:prstGeom prst="rect">
            <a:avLst/>
          </a:prstGeom>
          <a:noFill/>
          <a:ln w="38100">
            <a:solidFill>
              <a:srgbClr val="7030A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9E94FFE-41B8-2CE5-1F4E-F644FFB1978F}"/>
              </a:ext>
            </a:extLst>
          </p:cNvPr>
          <p:cNvSpPr txBox="1">
            <a:spLocks/>
          </p:cNvSpPr>
          <p:nvPr/>
        </p:nvSpPr>
        <p:spPr>
          <a:xfrm>
            <a:off x="1921857" y="161297"/>
            <a:ext cx="8348285" cy="790065"/>
          </a:xfrm>
          <a:prstGeom prst="rect">
            <a:avLst/>
          </a:prstGeom>
          <a:solidFill>
            <a:srgbClr val="3B680E"/>
          </a:solidFill>
          <a:ln>
            <a:solidFill>
              <a:schemeClr val="accent1"/>
            </a:solidFill>
          </a:ln>
        </p:spPr>
        <p:txBody>
          <a:bodyPr anchor="ctr" anchorCtr="0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2800" dirty="0">
                <a:solidFill>
                  <a:schemeClr val="bg1"/>
                </a:solidFill>
              </a:rPr>
              <a:t>Storage LIS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2847F25-529C-8C55-8E96-BCE53E0E12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0554" y="1720762"/>
            <a:ext cx="9550891" cy="3416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7359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C2E6C7BF-D8EE-CCAA-9850-9E75DDA43C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9889197"/>
              </p:ext>
            </p:extLst>
          </p:nvPr>
        </p:nvGraphicFramePr>
        <p:xfrm>
          <a:off x="1247955" y="1326959"/>
          <a:ext cx="9943381" cy="46447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85845">
                  <a:extLst>
                    <a:ext uri="{9D8B030D-6E8A-4147-A177-3AD203B41FA5}">
                      <a16:colId xmlns:a16="http://schemas.microsoft.com/office/drawing/2014/main" val="1542507271"/>
                    </a:ext>
                  </a:extLst>
                </a:gridCol>
                <a:gridCol w="2235679">
                  <a:extLst>
                    <a:ext uri="{9D8B030D-6E8A-4147-A177-3AD203B41FA5}">
                      <a16:colId xmlns:a16="http://schemas.microsoft.com/office/drawing/2014/main" val="3942950922"/>
                    </a:ext>
                  </a:extLst>
                </a:gridCol>
                <a:gridCol w="3364302">
                  <a:extLst>
                    <a:ext uri="{9D8B030D-6E8A-4147-A177-3AD203B41FA5}">
                      <a16:colId xmlns:a16="http://schemas.microsoft.com/office/drawing/2014/main" val="1563711822"/>
                    </a:ext>
                  </a:extLst>
                </a:gridCol>
                <a:gridCol w="1857555">
                  <a:extLst>
                    <a:ext uri="{9D8B030D-6E8A-4147-A177-3AD203B41FA5}">
                      <a16:colId xmlns:a16="http://schemas.microsoft.com/office/drawing/2014/main" val="302822037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TRL/RTR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err="1"/>
                        <a:t>mWRD</a:t>
                      </a:r>
                      <a:r>
                        <a:rPr lang="en-US" sz="1200" dirty="0"/>
                        <a:t> (</a:t>
                      </a:r>
                      <a:r>
                        <a:rPr lang="en-US" sz="1200" dirty="0" err="1"/>
                        <a:t>Xpert</a:t>
                      </a:r>
                      <a:r>
                        <a:rPr lang="en-US" sz="1200" dirty="0"/>
                        <a:t>, Truena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MICROSCOP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6900961"/>
                  </a:ext>
                </a:extLst>
              </a:tr>
              <a:tr h="321741">
                <a:tc>
                  <a:txBody>
                    <a:bodyPr/>
                    <a:lstStyle/>
                    <a:p>
                      <a:r>
                        <a:rPr lang="en-US" sz="1200" b="1" dirty="0"/>
                        <a:t>Recording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Excel and Hard copy Regis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Hard copy register, ASPECT (Only </a:t>
                      </a:r>
                      <a:r>
                        <a:rPr lang="en-US" sz="1200" dirty="0" err="1"/>
                        <a:t>Xpert</a:t>
                      </a:r>
                      <a:r>
                        <a:rPr lang="en-US" sz="120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Hard copy Regist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37335586"/>
                  </a:ext>
                </a:extLst>
              </a:tr>
              <a:tr h="465826">
                <a:tc>
                  <a:txBody>
                    <a:bodyPr/>
                    <a:lstStyle/>
                    <a:p>
                      <a:r>
                        <a:rPr lang="en-US" sz="1200" b="1" dirty="0"/>
                        <a:t>Reporting patient resul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Hard copy and Email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Hard copy </a:t>
                      </a:r>
                    </a:p>
                    <a:p>
                      <a:r>
                        <a:rPr lang="en-US" sz="1200" dirty="0"/>
                        <a:t>For DSMO SMS alert for Rif Resistance ca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Hard copy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1494990"/>
                  </a:ext>
                </a:extLst>
              </a:tr>
              <a:tr h="530913">
                <a:tc>
                  <a:txBody>
                    <a:bodyPr/>
                    <a:lstStyle/>
                    <a:p>
                      <a:r>
                        <a:rPr lang="en-US" sz="1200" b="1" dirty="0"/>
                        <a:t>Reporting NT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Monthly report (Google shee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ASPECT (Only </a:t>
                      </a:r>
                      <a:r>
                        <a:rPr lang="en-US" sz="1200" dirty="0" err="1"/>
                        <a:t>Xpert</a:t>
                      </a:r>
                      <a:r>
                        <a:rPr lang="en-US" sz="1200" dirty="0"/>
                        <a:t>), Monthly report  (Google Shee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Hard copy, Excel (</a:t>
                      </a:r>
                      <a:r>
                        <a:rPr lang="en-US" sz="1200" dirty="0" err="1"/>
                        <a:t>Qtrly</a:t>
                      </a:r>
                      <a:r>
                        <a:rPr lang="en-US" sz="1200" dirty="0"/>
                        <a:t>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7941019"/>
                  </a:ext>
                </a:extLst>
              </a:tr>
              <a:tr h="224287">
                <a:tc>
                  <a:txBody>
                    <a:bodyPr/>
                    <a:lstStyle/>
                    <a:p>
                      <a:r>
                        <a:rPr lang="en-US" sz="1200" b="1" dirty="0"/>
                        <a:t>M&amp;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6544398"/>
                  </a:ext>
                </a:extLst>
              </a:tr>
              <a:tr h="454224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Data compilatio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Excel spread she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ASPECT (Only </a:t>
                      </a:r>
                      <a:r>
                        <a:rPr lang="en-US" sz="1200" dirty="0" err="1"/>
                        <a:t>Xpert</a:t>
                      </a:r>
                      <a:r>
                        <a:rPr lang="en-US" sz="1200" dirty="0"/>
                        <a:t>), Monthly report  (Google Shee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Hard copy, Excel </a:t>
                      </a:r>
                    </a:p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0490026"/>
                  </a:ext>
                </a:extLst>
              </a:tr>
              <a:tr h="491605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Data Analysi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Excel based tools for indicat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ASPECT (Only </a:t>
                      </a:r>
                      <a:r>
                        <a:rPr lang="en-US" sz="1200" dirty="0" err="1"/>
                        <a:t>Xpert</a:t>
                      </a:r>
                      <a:r>
                        <a:rPr lang="en-US" sz="1200" dirty="0"/>
                        <a:t>), Monthly report  (Google Shee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Hard copy, Excel</a:t>
                      </a:r>
                    </a:p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3679271"/>
                  </a:ext>
                </a:extLst>
              </a:tr>
              <a:tr h="448573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Feedback and Action Taken Report (ATR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Meetings and Onsi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Meetings and Onsi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Meetings, Onsite through  EQA controller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1684556"/>
                  </a:ext>
                </a:extLst>
              </a:tr>
              <a:tr h="250166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200" b="1" dirty="0"/>
                        <a:t>Integration with HI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t Avail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t Avail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t Applicable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9395623"/>
                  </a:ext>
                </a:extLst>
              </a:tr>
              <a:tr h="385626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200" b="1" dirty="0"/>
                        <a:t>Plans for Strengthening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B-LIMS, Integration with HI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Scaleup ASPECT to cover Truena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Online  indicator report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1586747"/>
                  </a:ext>
                </a:extLst>
              </a:tr>
              <a:tr h="385626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M&amp;E using data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Monthly monitoring dashboards at site and NTP level, Documentation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Use Dashboards for monitoring and planning site visit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Monitor transition of Microscopy to </a:t>
                      </a:r>
                      <a:r>
                        <a:rPr lang="en-US" sz="1200" dirty="0" err="1"/>
                        <a:t>mWRD</a:t>
                      </a:r>
                      <a:r>
                        <a:rPr lang="en-US" sz="1200" dirty="0"/>
                        <a:t> as diagnostic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3756454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9BD111A-BEEC-51A8-5DAE-CFAF2D242810}"/>
              </a:ext>
            </a:extLst>
          </p:cNvPr>
          <p:cNvSpPr/>
          <p:nvPr/>
        </p:nvSpPr>
        <p:spPr>
          <a:xfrm>
            <a:off x="1402915" y="478274"/>
            <a:ext cx="9081370" cy="522390"/>
          </a:xfrm>
          <a:prstGeom prst="rect">
            <a:avLst/>
          </a:prstGeom>
          <a:solidFill>
            <a:srgbClr val="3B680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isting status </a:t>
            </a:r>
          </a:p>
        </p:txBody>
      </p:sp>
    </p:spTree>
    <p:extLst>
      <p:ext uri="{BB962C8B-B14F-4D97-AF65-F5344CB8AC3E}">
        <p14:creationId xmlns:p14="http://schemas.microsoft.com/office/powerpoint/2010/main" val="73471400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4D67035-D025-CEA1-C8CC-96974A2932EE}"/>
              </a:ext>
            </a:extLst>
          </p:cNvPr>
          <p:cNvSpPr/>
          <p:nvPr/>
        </p:nvSpPr>
        <p:spPr>
          <a:xfrm>
            <a:off x="713923" y="1736706"/>
            <a:ext cx="10621472" cy="4696951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8CB4C2-26CD-8D68-EE04-853B211F35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8E8204E-83E5-6299-913E-76EE62B100C0}"/>
              </a:ext>
            </a:extLst>
          </p:cNvPr>
          <p:cNvSpPr txBox="1">
            <a:spLocks/>
          </p:cNvSpPr>
          <p:nvPr/>
        </p:nvSpPr>
        <p:spPr>
          <a:xfrm>
            <a:off x="1921857" y="223927"/>
            <a:ext cx="7410033" cy="790065"/>
          </a:xfrm>
          <a:prstGeom prst="rect">
            <a:avLst/>
          </a:prstGeom>
          <a:solidFill>
            <a:srgbClr val="3B680E"/>
          </a:solidFill>
          <a:ln>
            <a:solidFill>
              <a:schemeClr val="accent1"/>
            </a:solidFill>
          </a:ln>
        </p:spPr>
        <p:txBody>
          <a:bodyPr anchor="ctr" anchorCtr="0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2800" dirty="0">
                <a:solidFill>
                  <a:schemeClr val="bg1"/>
                </a:solidFill>
              </a:rPr>
              <a:t>QC TA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64483D8-9A69-FB4F-E280-6D4E7322E5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9883" y="1195063"/>
            <a:ext cx="12002117" cy="5734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9707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4D67035-D025-CEA1-C8CC-96974A2932EE}"/>
              </a:ext>
            </a:extLst>
          </p:cNvPr>
          <p:cNvSpPr/>
          <p:nvPr/>
        </p:nvSpPr>
        <p:spPr>
          <a:xfrm>
            <a:off x="338802" y="1214408"/>
            <a:ext cx="10621472" cy="4696951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8CB4C2-26CD-8D68-EE04-853B211F35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8E8204E-83E5-6299-913E-76EE62B100C0}"/>
              </a:ext>
            </a:extLst>
          </p:cNvPr>
          <p:cNvSpPr txBox="1">
            <a:spLocks/>
          </p:cNvSpPr>
          <p:nvPr/>
        </p:nvSpPr>
        <p:spPr>
          <a:xfrm>
            <a:off x="1921857" y="223927"/>
            <a:ext cx="7410033" cy="790065"/>
          </a:xfrm>
          <a:prstGeom prst="rect">
            <a:avLst/>
          </a:prstGeom>
          <a:solidFill>
            <a:srgbClr val="3B680E"/>
          </a:solidFill>
          <a:ln>
            <a:solidFill>
              <a:schemeClr val="accent1"/>
            </a:solidFill>
          </a:ln>
        </p:spPr>
        <p:txBody>
          <a:bodyPr anchor="ctr" anchorCtr="0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2800" dirty="0">
                <a:solidFill>
                  <a:schemeClr val="bg1"/>
                </a:solidFill>
              </a:rPr>
              <a:t>Culture tb register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A25071-37DF-D20B-7718-22EFA65D00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2945" y="1214408"/>
            <a:ext cx="10488540" cy="4672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88335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C22D101D-5EF4-AD8E-7A12-8B583509101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t="8911" r="4348" b="13098"/>
          <a:stretch/>
        </p:blipFill>
        <p:spPr>
          <a:xfrm>
            <a:off x="432279" y="1303801"/>
            <a:ext cx="11327441" cy="519517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F444AC54-511D-B967-EEEA-8D2DFEF730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39423B-DDF6-2B7D-A5CD-99779B2685D8}"/>
              </a:ext>
            </a:extLst>
          </p:cNvPr>
          <p:cNvSpPr/>
          <p:nvPr/>
        </p:nvSpPr>
        <p:spPr>
          <a:xfrm>
            <a:off x="1427967" y="503955"/>
            <a:ext cx="9006214" cy="527598"/>
          </a:xfrm>
          <a:prstGeom prst="rect">
            <a:avLst/>
          </a:prstGeom>
          <a:solidFill>
            <a:srgbClr val="3B680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3600" cap="all" spc="3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ivision LOGIN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C0884D0-7F50-A7E7-F1F1-4CAEB61AA0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5431" y="1214408"/>
            <a:ext cx="12046569" cy="5397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982232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444AC54-511D-B967-EEEA-8D2DFEF730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39423B-DDF6-2B7D-A5CD-99779B2685D8}"/>
              </a:ext>
            </a:extLst>
          </p:cNvPr>
          <p:cNvSpPr/>
          <p:nvPr/>
        </p:nvSpPr>
        <p:spPr>
          <a:xfrm>
            <a:off x="1427967" y="503955"/>
            <a:ext cx="9006214" cy="527598"/>
          </a:xfrm>
          <a:prstGeom prst="rect">
            <a:avLst/>
          </a:prstGeom>
          <a:solidFill>
            <a:srgbClr val="3B680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3600" cap="all" spc="3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ivision Dashboard 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F314CF5F-0AF1-0343-FCF1-5CF82C72609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B0C74C8-C6CE-D152-66C5-CFCE517C1B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569" y="1262780"/>
            <a:ext cx="11906862" cy="5595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07658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444AC54-511D-B967-EEEA-8D2DFEF730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39423B-DDF6-2B7D-A5CD-99779B2685D8}"/>
              </a:ext>
            </a:extLst>
          </p:cNvPr>
          <p:cNvSpPr/>
          <p:nvPr/>
        </p:nvSpPr>
        <p:spPr>
          <a:xfrm>
            <a:off x="1427967" y="503955"/>
            <a:ext cx="9006214" cy="527598"/>
          </a:xfrm>
          <a:prstGeom prst="rect">
            <a:avLst/>
          </a:prstGeom>
          <a:solidFill>
            <a:srgbClr val="3B680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3600" cap="all" spc="3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ivision </a:t>
            </a:r>
            <a:r>
              <a:rPr lang="en-US" sz="3600" cap="all" spc="3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UserLIST</a:t>
            </a:r>
            <a:r>
              <a:rPr lang="en-US" sz="3600" cap="all" spc="3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209BEA36-F90A-9143-C4A5-996B3FFE063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66144" y="1508125"/>
            <a:ext cx="9661300" cy="4591050"/>
          </a:xfrm>
        </p:spPr>
      </p:pic>
    </p:spTree>
    <p:extLst>
      <p:ext uri="{BB962C8B-B14F-4D97-AF65-F5344CB8AC3E}">
        <p14:creationId xmlns:p14="http://schemas.microsoft.com/office/powerpoint/2010/main" val="368784375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9FCD638-E091-07CD-800E-6CB4B87DA76C}"/>
              </a:ext>
            </a:extLst>
          </p:cNvPr>
          <p:cNvSpPr/>
          <p:nvPr/>
        </p:nvSpPr>
        <p:spPr>
          <a:xfrm>
            <a:off x="224506" y="1282654"/>
            <a:ext cx="11662694" cy="546145"/>
          </a:xfrm>
          <a:prstGeom prst="rect">
            <a:avLst/>
          </a:prstGeom>
          <a:solidFill>
            <a:srgbClr val="A3C87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Other features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CF75197-3D79-DD5C-F2BC-3719DCC79BCF}"/>
              </a:ext>
            </a:extLst>
          </p:cNvPr>
          <p:cNvSpPr txBox="1"/>
          <p:nvPr/>
        </p:nvSpPr>
        <p:spPr>
          <a:xfrm>
            <a:off x="174402" y="2262208"/>
            <a:ext cx="11592027" cy="1853852"/>
          </a:xfrm>
          <a:prstGeom prst="rect">
            <a:avLst/>
          </a:prstGeom>
          <a:noFill/>
        </p:spPr>
        <p:txBody>
          <a:bodyPr wrap="square" tIns="91440" bIns="91440" numCol="2" rtlCol="0">
            <a:spAutoFit/>
          </a:bodyPr>
          <a:lstStyle/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IN" dirty="0">
                <a:solidFill>
                  <a:srgbClr val="5A2259"/>
                </a:solidFill>
                <a:latin typeface="Franklin Gothic Medium" panose="020B0603020102020204" pitchFamily="34" charset="0"/>
              </a:rPr>
              <a:t>Email notification 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IN" dirty="0">
                <a:solidFill>
                  <a:srgbClr val="5A2259"/>
                </a:solidFill>
                <a:latin typeface="Franklin Gothic Medium" panose="020B0603020102020204" pitchFamily="34" charset="0"/>
              </a:rPr>
              <a:t>Dash boards 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IN" dirty="0">
                <a:solidFill>
                  <a:srgbClr val="5A2259"/>
                </a:solidFill>
                <a:latin typeface="Franklin Gothic Medium" panose="020B0603020102020204" pitchFamily="34" charset="0"/>
              </a:rPr>
              <a:t>CBNAAT/Truenat Monthly Report 10A,10B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IN" dirty="0">
                <a:solidFill>
                  <a:srgbClr val="5A2259"/>
                </a:solidFill>
                <a:latin typeface="Franklin Gothic Medium" panose="020B0603020102020204" pitchFamily="34" charset="0"/>
              </a:rPr>
              <a:t>Test request form with results (DR TB-6)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IN" dirty="0">
                <a:solidFill>
                  <a:srgbClr val="5A2259"/>
                </a:solidFill>
                <a:latin typeface="Franklin Gothic Medium" panose="020B0603020102020204" pitchFamily="34" charset="0"/>
              </a:rPr>
              <a:t>Quality Indicator Test Wise</a:t>
            </a:r>
          </a:p>
          <a:p>
            <a:pPr marL="1200150" lvl="2" indent="-285750" algn="just">
              <a:buFont typeface="Arial" panose="020B0604020202020204" pitchFamily="34" charset="0"/>
              <a:buChar char="•"/>
            </a:pPr>
            <a:r>
              <a:rPr lang="en-IN" dirty="0">
                <a:solidFill>
                  <a:srgbClr val="5A2259"/>
                </a:solidFill>
                <a:latin typeface="Franklin Gothic Medium" panose="020B0603020102020204" pitchFamily="34" charset="0"/>
              </a:rPr>
              <a:t>Turn Around Time (TAT) indictors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endParaRPr lang="en-IN" dirty="0">
              <a:solidFill>
                <a:srgbClr val="5A2259"/>
              </a:solidFill>
              <a:latin typeface="Franklin Gothic Medium" panose="020B0603020102020204" pitchFamily="34" charset="0"/>
            </a:endParaRPr>
          </a:p>
          <a:p>
            <a:pPr lvl="1" algn="just"/>
            <a:endParaRPr lang="en-IN" dirty="0">
              <a:solidFill>
                <a:srgbClr val="5A2259"/>
              </a:solidFill>
              <a:latin typeface="Franklin Gothic Medium" panose="020B0603020102020204" pitchFamily="34" charset="0"/>
            </a:endParaRPr>
          </a:p>
          <a:p>
            <a:endParaRPr lang="en-US" sz="1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997572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4704F65-3FDE-4980-01DF-87AC2A847A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1730" y="1508124"/>
            <a:ext cx="11068539" cy="3915015"/>
          </a:xfrm>
        </p:spPr>
        <p:txBody>
          <a:bodyPr/>
          <a:lstStyle/>
          <a:p>
            <a:endParaRPr lang="en-US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/>
              <a:t>Development and Pilot testing </a:t>
            </a:r>
          </a:p>
          <a:p>
            <a:pPr marL="617538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User Acceptance testing </a:t>
            </a:r>
          </a:p>
          <a:p>
            <a:pPr marL="617538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Hosting application </a:t>
            </a:r>
          </a:p>
          <a:p>
            <a:pPr marL="617538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Deployment and training </a:t>
            </a:r>
          </a:p>
          <a:p>
            <a:pPr marL="617538" lvl="1" indent="-342900">
              <a:buFont typeface="Arial" panose="020B0604020202020204" pitchFamily="34" charset="0"/>
              <a:buChar char="•"/>
            </a:pPr>
            <a:endParaRPr lang="en-US" sz="1600" dirty="0"/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11A596D-FEE8-8795-580D-19F35CEA6547}"/>
              </a:ext>
            </a:extLst>
          </p:cNvPr>
          <p:cNvSpPr/>
          <p:nvPr/>
        </p:nvSpPr>
        <p:spPr>
          <a:xfrm>
            <a:off x="1402915" y="363255"/>
            <a:ext cx="9081370" cy="676406"/>
          </a:xfrm>
          <a:prstGeom prst="rect">
            <a:avLst/>
          </a:prstGeom>
          <a:solidFill>
            <a:srgbClr val="3B680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POSED PLAN FOR PILOT TESTING   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BBE14609-6C00-C2E9-B158-D52C9B12DE8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40058567"/>
              </p:ext>
            </p:extLst>
          </p:nvPr>
        </p:nvGraphicFramePr>
        <p:xfrm>
          <a:off x="684547" y="3429000"/>
          <a:ext cx="11306170" cy="18101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18109ED2-E486-748E-C6E6-688F4EF34ABC}"/>
              </a:ext>
            </a:extLst>
          </p:cNvPr>
          <p:cNvSpPr/>
          <p:nvPr/>
        </p:nvSpPr>
        <p:spPr>
          <a:xfrm>
            <a:off x="7182929" y="4676672"/>
            <a:ext cx="1385978" cy="396816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ne month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319788F-E956-63FB-7617-38EB255D8EE0}"/>
              </a:ext>
            </a:extLst>
          </p:cNvPr>
          <p:cNvSpPr/>
          <p:nvPr/>
        </p:nvSpPr>
        <p:spPr>
          <a:xfrm>
            <a:off x="8782759" y="4686454"/>
            <a:ext cx="1310147" cy="39681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One month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06E03E-4D38-CD96-EAEB-0D9A1C13296F}"/>
              </a:ext>
            </a:extLst>
          </p:cNvPr>
          <p:cNvSpPr/>
          <p:nvPr/>
        </p:nvSpPr>
        <p:spPr>
          <a:xfrm>
            <a:off x="10306758" y="4726710"/>
            <a:ext cx="1310147" cy="396816"/>
          </a:xfrm>
          <a:prstGeom prst="rect">
            <a:avLst/>
          </a:prstGeom>
          <a:solidFill>
            <a:srgbClr val="FFFF0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One month </a:t>
            </a:r>
          </a:p>
        </p:txBody>
      </p:sp>
    </p:spTree>
    <p:extLst>
      <p:ext uri="{BB962C8B-B14F-4D97-AF65-F5344CB8AC3E}">
        <p14:creationId xmlns:p14="http://schemas.microsoft.com/office/powerpoint/2010/main" val="18972219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0DF8D25-1C84-930C-3E87-12F12B871C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6212" y="1652505"/>
            <a:ext cx="10053841" cy="313614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dirty="0">
                <a:solidFill>
                  <a:schemeClr val="tx1"/>
                </a:solidFill>
                <a:latin typeface="Arial"/>
              </a:rPr>
              <a:t>Transition from E</a:t>
            </a:r>
            <a:r>
              <a:rPr lang="en-AU" sz="2400" b="0" dirty="0">
                <a:solidFill>
                  <a:schemeClr val="tx1"/>
                </a:solidFill>
                <a:latin typeface="Arial"/>
              </a:rPr>
              <a:t>xcel based to </a:t>
            </a:r>
            <a:r>
              <a:rPr lang="en-AU" dirty="0">
                <a:solidFill>
                  <a:schemeClr val="tx1"/>
                </a:solidFill>
                <a:latin typeface="Arial"/>
              </a:rPr>
              <a:t>simple </a:t>
            </a:r>
            <a:r>
              <a:rPr lang="en-AU" sz="2400" b="0" dirty="0">
                <a:solidFill>
                  <a:schemeClr val="tx1"/>
                </a:solidFill>
                <a:latin typeface="Arial"/>
              </a:rPr>
              <a:t>software tool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sz="2400" b="0" dirty="0">
                <a:solidFill>
                  <a:schemeClr val="tx1"/>
                </a:solidFill>
                <a:latin typeface="Arial"/>
              </a:rPr>
              <a:t>Data recording and reporting in a uniform manner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dirty="0">
                <a:solidFill>
                  <a:schemeClr val="tx1"/>
                </a:solidFill>
                <a:latin typeface="Arial"/>
              </a:rPr>
              <a:t>To  provide accurate information for patient care and</a:t>
            </a:r>
          </a:p>
          <a:p>
            <a:r>
              <a:rPr lang="en-AU" dirty="0">
                <a:solidFill>
                  <a:schemeClr val="tx1"/>
                </a:solidFill>
                <a:latin typeface="Arial"/>
              </a:rPr>
              <a:t>   public health planning policy decision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dirty="0">
                <a:solidFill>
                  <a:schemeClr val="tx1"/>
                </a:solidFill>
                <a:latin typeface="Arial"/>
              </a:rPr>
              <a:t>Notification to health officials to initiate/monitor the treatment  </a:t>
            </a:r>
          </a:p>
          <a:p>
            <a:endParaRPr lang="en-AU" sz="2400" b="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6EB2F58-78EF-C29D-E5F6-EE94A03509C7}"/>
              </a:ext>
            </a:extLst>
          </p:cNvPr>
          <p:cNvSpPr/>
          <p:nvPr/>
        </p:nvSpPr>
        <p:spPr>
          <a:xfrm>
            <a:off x="1588791" y="529007"/>
            <a:ext cx="7903923" cy="527598"/>
          </a:xfrm>
          <a:prstGeom prst="rect">
            <a:avLst/>
          </a:prstGeom>
          <a:solidFill>
            <a:srgbClr val="3B680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bjectives  </a:t>
            </a:r>
          </a:p>
        </p:txBody>
      </p:sp>
    </p:spTree>
    <p:extLst>
      <p:ext uri="{BB962C8B-B14F-4D97-AF65-F5344CB8AC3E}">
        <p14:creationId xmlns:p14="http://schemas.microsoft.com/office/powerpoint/2010/main" val="8329958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5BD963D-B43D-08E6-3CD9-E9429249EAF0}"/>
              </a:ext>
            </a:extLst>
          </p:cNvPr>
          <p:cNvSpPr/>
          <p:nvPr/>
        </p:nvSpPr>
        <p:spPr>
          <a:xfrm>
            <a:off x="1402914" y="363255"/>
            <a:ext cx="9127063" cy="683417"/>
          </a:xfrm>
          <a:prstGeom prst="rect">
            <a:avLst/>
          </a:prstGeom>
          <a:solidFill>
            <a:srgbClr val="3B680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 dirty="0"/>
          </a:p>
          <a:p>
            <a:pPr algn="ctr"/>
            <a:r>
              <a:rPr lang="en-US" sz="2000" dirty="0"/>
              <a:t>Proposed structure of Data flow movement from lab to central cloud at RTRL and NTRLs</a:t>
            </a:r>
          </a:p>
          <a:p>
            <a:pPr algn="ctr"/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F935ADD-B161-F532-CCAF-137C4AA61F07}"/>
              </a:ext>
            </a:extLst>
          </p:cNvPr>
          <p:cNvGrpSpPr/>
          <p:nvPr/>
        </p:nvGrpSpPr>
        <p:grpSpPr>
          <a:xfrm>
            <a:off x="1196197" y="1314586"/>
            <a:ext cx="8363683" cy="5180159"/>
            <a:chOff x="2491508" y="677531"/>
            <a:chExt cx="7370962" cy="5922626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7B19DB15-F87C-7AD4-B6DD-5647F27FF9A9}"/>
                </a:ext>
              </a:extLst>
            </p:cNvPr>
            <p:cNvSpPr/>
            <p:nvPr/>
          </p:nvSpPr>
          <p:spPr>
            <a:xfrm>
              <a:off x="7738926" y="677531"/>
              <a:ext cx="2123544" cy="5922626"/>
            </a:xfrm>
            <a:prstGeom prst="rect">
              <a:avLst/>
            </a:prstGeom>
            <a:noFill/>
            <a:ln w="38100" cap="flat" cmpd="sng" algn="ctr">
              <a:solidFill>
                <a:srgbClr val="00B0F0"/>
              </a:solidFill>
              <a:prstDash val="sysDot"/>
            </a:ln>
            <a:effectLst/>
          </p:spPr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F0609CB-BA14-ECE5-96B4-9795ED63DFFD}"/>
                </a:ext>
              </a:extLst>
            </p:cNvPr>
            <p:cNvSpPr/>
            <p:nvPr/>
          </p:nvSpPr>
          <p:spPr>
            <a:xfrm>
              <a:off x="4792407" y="712187"/>
              <a:ext cx="2051439" cy="5873982"/>
            </a:xfrm>
            <a:prstGeom prst="rect">
              <a:avLst/>
            </a:prstGeom>
            <a:noFill/>
            <a:ln w="38100" cap="flat" cmpd="sng" algn="ctr">
              <a:solidFill>
                <a:srgbClr val="669735"/>
              </a:solidFill>
              <a:prstDash val="sysDot"/>
            </a:ln>
            <a:effectLst/>
          </p:spPr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C7C3357-588D-DAE8-4F5A-191D7D39556E}"/>
                </a:ext>
              </a:extLst>
            </p:cNvPr>
            <p:cNvSpPr/>
            <p:nvPr/>
          </p:nvSpPr>
          <p:spPr>
            <a:xfrm>
              <a:off x="2491508" y="712187"/>
              <a:ext cx="2281167" cy="5873981"/>
            </a:xfrm>
            <a:prstGeom prst="rect">
              <a:avLst/>
            </a:prstGeom>
            <a:noFill/>
            <a:ln w="38100" cap="flat" cmpd="sng" algn="ctr">
              <a:solidFill>
                <a:srgbClr val="FF0000"/>
              </a:solidFill>
              <a:prstDash val="sysDot"/>
            </a:ln>
            <a:effectLst/>
          </p:spPr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B94D3C8-7364-1F61-53E2-E9DC5089927F}"/>
                </a:ext>
              </a:extLst>
            </p:cNvPr>
            <p:cNvGrpSpPr/>
            <p:nvPr/>
          </p:nvGrpSpPr>
          <p:grpSpPr>
            <a:xfrm>
              <a:off x="2491508" y="768571"/>
              <a:ext cx="7152078" cy="5395282"/>
              <a:chOff x="2491341" y="925352"/>
              <a:chExt cx="6364106" cy="5477583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ED9B5B8F-48B3-0F5D-E651-32C7716D2020}"/>
                  </a:ext>
                </a:extLst>
              </p:cNvPr>
              <p:cNvGrpSpPr/>
              <p:nvPr/>
            </p:nvGrpSpPr>
            <p:grpSpPr>
              <a:xfrm>
                <a:off x="2522704" y="1245961"/>
                <a:ext cx="1996502" cy="5156974"/>
                <a:chOff x="2880528" y="1245961"/>
                <a:chExt cx="2297761" cy="5156974"/>
              </a:xfrm>
            </p:grpSpPr>
            <p:sp>
              <p:nvSpPr>
                <p:cNvPr id="39" name="Rounded Rectangle 6">
                  <a:extLst>
                    <a:ext uri="{FF2B5EF4-FFF2-40B4-BE49-F238E27FC236}">
                      <a16:creationId xmlns:a16="http://schemas.microsoft.com/office/drawing/2014/main" id="{1C330CDD-B2B0-E8FB-E663-E366E0400906}"/>
                    </a:ext>
                  </a:extLst>
                </p:cNvPr>
                <p:cNvSpPr/>
                <p:nvPr/>
              </p:nvSpPr>
              <p:spPr>
                <a:xfrm rot="5400000">
                  <a:off x="1468985" y="3141751"/>
                  <a:ext cx="5156974" cy="1365393"/>
                </a:xfrm>
                <a:prstGeom prst="roundRect">
                  <a:avLst/>
                </a:prstGeom>
                <a:noFill/>
                <a:ln w="25400" cap="flat" cmpd="sng" algn="ctr">
                  <a:solidFill>
                    <a:srgbClr val="00206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pic>
              <p:nvPicPr>
                <p:cNvPr id="40" name="Picture 39">
                  <a:extLst>
                    <a:ext uri="{FF2B5EF4-FFF2-40B4-BE49-F238E27FC236}">
                      <a16:creationId xmlns:a16="http://schemas.microsoft.com/office/drawing/2014/main" id="{1AA84DBE-1C46-5838-87EF-1B9A2B4A147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3722628" y="2408399"/>
                  <a:ext cx="772138" cy="790897"/>
                </a:xfrm>
                <a:prstGeom prst="rect">
                  <a:avLst/>
                </a:prstGeom>
              </p:spPr>
            </p:pic>
            <p:pic>
              <p:nvPicPr>
                <p:cNvPr id="41" name="Picture 40">
                  <a:extLst>
                    <a:ext uri="{FF2B5EF4-FFF2-40B4-BE49-F238E27FC236}">
                      <a16:creationId xmlns:a16="http://schemas.microsoft.com/office/drawing/2014/main" id="{3CC6CC77-8EE6-A9D3-2E8E-3AE99EC1D89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3716904" y="3365482"/>
                  <a:ext cx="874715" cy="895967"/>
                </a:xfrm>
                <a:prstGeom prst="rect">
                  <a:avLst/>
                </a:prstGeom>
              </p:spPr>
            </p:pic>
            <p:pic>
              <p:nvPicPr>
                <p:cNvPr id="42" name="Picture 41">
                  <a:extLst>
                    <a:ext uri="{FF2B5EF4-FFF2-40B4-BE49-F238E27FC236}">
                      <a16:creationId xmlns:a16="http://schemas.microsoft.com/office/drawing/2014/main" id="{7C60A3B5-814D-A45D-02A2-01E51F1A44E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3583130" y="1528175"/>
                  <a:ext cx="1007091" cy="686455"/>
                </a:xfrm>
                <a:prstGeom prst="rect">
                  <a:avLst/>
                </a:prstGeom>
              </p:spPr>
            </p:pic>
            <p:pic>
              <p:nvPicPr>
                <p:cNvPr id="43" name="Picture 42">
                  <a:extLst>
                    <a:ext uri="{FF2B5EF4-FFF2-40B4-BE49-F238E27FC236}">
                      <a16:creationId xmlns:a16="http://schemas.microsoft.com/office/drawing/2014/main" id="{70984040-AAE9-BC78-0715-9E99D022094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 rot="21341675">
                  <a:off x="3563181" y="4460785"/>
                  <a:ext cx="1135912" cy="871510"/>
                </a:xfrm>
                <a:prstGeom prst="rect">
                  <a:avLst/>
                </a:prstGeom>
              </p:spPr>
            </p:pic>
            <p:pic>
              <p:nvPicPr>
                <p:cNvPr id="44" name="Picture 43">
                  <a:extLst>
                    <a:ext uri="{FF2B5EF4-FFF2-40B4-BE49-F238E27FC236}">
                      <a16:creationId xmlns:a16="http://schemas.microsoft.com/office/drawing/2014/main" id="{B1D1E09D-112F-A040-4E8A-05B336626C6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3639523" y="5374739"/>
                  <a:ext cx="1011376" cy="964810"/>
                </a:xfrm>
                <a:prstGeom prst="rect">
                  <a:avLst/>
                </a:prstGeom>
              </p:spPr>
            </p:pic>
            <p:sp>
              <p:nvSpPr>
                <p:cNvPr id="45" name="TextBox 44">
                  <a:extLst>
                    <a:ext uri="{FF2B5EF4-FFF2-40B4-BE49-F238E27FC236}">
                      <a16:creationId xmlns:a16="http://schemas.microsoft.com/office/drawing/2014/main" id="{4F540F21-D6D6-2074-3FB5-3A802730B547}"/>
                    </a:ext>
                  </a:extLst>
                </p:cNvPr>
                <p:cNvSpPr txBox="1"/>
                <p:nvPr/>
              </p:nvSpPr>
              <p:spPr>
                <a:xfrm rot="16200000">
                  <a:off x="2354449" y="3375024"/>
                  <a:ext cx="1529025" cy="47686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cxnSp>
              <p:nvCxnSpPr>
                <p:cNvPr id="46" name="Straight Arrow Connector 45">
                  <a:extLst>
                    <a:ext uri="{FF2B5EF4-FFF2-40B4-BE49-F238E27FC236}">
                      <a16:creationId xmlns:a16="http://schemas.microsoft.com/office/drawing/2014/main" id="{BB849386-5CDA-27DA-5FE9-8283879ABED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03693" y="3492857"/>
                  <a:ext cx="474596" cy="1"/>
                </a:xfrm>
                <a:prstGeom prst="straightConnector1">
                  <a:avLst/>
                </a:prstGeom>
                <a:noFill/>
                <a:ln w="25400" cap="flat" cmpd="sng" algn="ctr">
                  <a:solidFill>
                    <a:srgbClr val="DC6E00"/>
                  </a:solidFill>
                  <a:prstDash val="solid"/>
                  <a:headEnd type="none" w="med" len="med"/>
                  <a:tailEnd type="triangle" w="med" len="med"/>
                </a:ln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p:spPr>
            </p:cxnSp>
          </p:grpSp>
          <p:sp>
            <p:nvSpPr>
              <p:cNvPr id="22" name="Flowchart: Direct Access Storage 21">
                <a:extLst>
                  <a:ext uri="{FF2B5EF4-FFF2-40B4-BE49-F238E27FC236}">
                    <a16:creationId xmlns:a16="http://schemas.microsoft.com/office/drawing/2014/main" id="{F09ACAF7-A479-81B4-0104-DF6625599F6D}"/>
                  </a:ext>
                </a:extLst>
              </p:cNvPr>
              <p:cNvSpPr/>
              <p:nvPr/>
            </p:nvSpPr>
            <p:spPr>
              <a:xfrm rot="16200000">
                <a:off x="6296175" y="3292656"/>
                <a:ext cx="3487496" cy="1631048"/>
              </a:xfrm>
              <a:prstGeom prst="flowChartMagneticDrum">
                <a:avLst/>
              </a:prstGeom>
              <a:solidFill>
                <a:schemeClr val="accent2"/>
              </a:solidFill>
              <a:ln w="9525" cap="flat" cmpd="sng" algn="ctr">
                <a:solidFill>
                  <a:srgbClr val="EEF1F2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450921DB-0EDC-238C-13D0-B5016C8C2713}"/>
                  </a:ext>
                </a:extLst>
              </p:cNvPr>
              <p:cNvSpPr txBox="1"/>
              <p:nvPr/>
            </p:nvSpPr>
            <p:spPr>
              <a:xfrm>
                <a:off x="7232101" y="3992482"/>
                <a:ext cx="1613371" cy="5300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Central B-LIMS Server  (Admin)</a:t>
                </a:r>
              </a:p>
            </p:txBody>
          </p:sp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99AFA886-2CF3-01AC-C6A2-BB2631491443}"/>
                  </a:ext>
                </a:extLst>
              </p:cNvPr>
              <p:cNvGrpSpPr/>
              <p:nvPr/>
            </p:nvGrpSpPr>
            <p:grpSpPr>
              <a:xfrm>
                <a:off x="4621565" y="929559"/>
                <a:ext cx="2610535" cy="5067535"/>
                <a:chOff x="4621565" y="899414"/>
                <a:chExt cx="2610535" cy="5067535"/>
              </a:xfrm>
            </p:grpSpPr>
            <p:grpSp>
              <p:nvGrpSpPr>
                <p:cNvPr id="28" name="Group 27">
                  <a:extLst>
                    <a:ext uri="{FF2B5EF4-FFF2-40B4-BE49-F238E27FC236}">
                      <a16:creationId xmlns:a16="http://schemas.microsoft.com/office/drawing/2014/main" id="{5EE82A17-B204-2957-6E4D-4F91AF25A828}"/>
                    </a:ext>
                  </a:extLst>
                </p:cNvPr>
                <p:cNvGrpSpPr/>
                <p:nvPr/>
              </p:nvGrpSpPr>
              <p:grpSpPr>
                <a:xfrm>
                  <a:off x="4621565" y="899414"/>
                  <a:ext cx="2610535" cy="4129547"/>
                  <a:chOff x="5142101" y="796195"/>
                  <a:chExt cx="2610535" cy="4129547"/>
                </a:xfrm>
              </p:grpSpPr>
              <p:pic>
                <p:nvPicPr>
                  <p:cNvPr id="30" name="Picture 29">
                    <a:extLst>
                      <a:ext uri="{FF2B5EF4-FFF2-40B4-BE49-F238E27FC236}">
                        <a16:creationId xmlns:a16="http://schemas.microsoft.com/office/drawing/2014/main" id="{089B5CF9-3695-AD07-7CC7-697DB74D521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7"/>
                  <a:stretch>
                    <a:fillRect/>
                  </a:stretch>
                </p:blipFill>
                <p:spPr>
                  <a:xfrm>
                    <a:off x="5145253" y="1096890"/>
                    <a:ext cx="920495" cy="942858"/>
                  </a:xfrm>
                  <a:prstGeom prst="rect">
                    <a:avLst/>
                  </a:prstGeom>
                </p:spPr>
              </p:pic>
              <p:cxnSp>
                <p:nvCxnSpPr>
                  <p:cNvPr id="31" name="Straight Arrow Connector 30">
                    <a:extLst>
                      <a:ext uri="{FF2B5EF4-FFF2-40B4-BE49-F238E27FC236}">
                        <a16:creationId xmlns:a16="http://schemas.microsoft.com/office/drawing/2014/main" id="{F4B91A8F-BA55-F189-1870-446143C6189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6118103" y="4293113"/>
                    <a:ext cx="1570766" cy="280746"/>
                  </a:xfrm>
                  <a:prstGeom prst="straightConnector1">
                    <a:avLst/>
                  </a:prstGeom>
                  <a:noFill/>
                  <a:ln w="25400" cap="flat" cmpd="sng" algn="ctr">
                    <a:solidFill>
                      <a:srgbClr val="DC6E00"/>
                    </a:solidFill>
                    <a:prstDash val="solid"/>
                    <a:headEnd type="none" w="med" len="med"/>
                    <a:tailEnd type="triangle" w="med" len="med"/>
                  </a:ln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p:spPr>
              </p:cxnSp>
              <p:sp>
                <p:nvSpPr>
                  <p:cNvPr id="32" name="TextBox 31">
                    <a:extLst>
                      <a:ext uri="{FF2B5EF4-FFF2-40B4-BE49-F238E27FC236}">
                        <a16:creationId xmlns:a16="http://schemas.microsoft.com/office/drawing/2014/main" id="{3C1B2E77-3F38-24BD-4649-9BCC83DB1D31}"/>
                      </a:ext>
                    </a:extLst>
                  </p:cNvPr>
                  <p:cNvSpPr txBox="1"/>
                  <p:nvPr/>
                </p:nvSpPr>
                <p:spPr>
                  <a:xfrm>
                    <a:off x="5142101" y="796195"/>
                    <a:ext cx="1742600" cy="307777"/>
                  </a:xfrm>
                  <a:prstGeom prst="rect">
                    <a:avLst/>
                  </a:prstGeom>
                  <a:solidFill>
                    <a:srgbClr val="FEEC00"/>
                  </a:solidFill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rPr>
                      <a:t>RTRL/NTRL labs  </a:t>
                    </a:r>
                  </a:p>
                </p:txBody>
              </p:sp>
              <p:pic>
                <p:nvPicPr>
                  <p:cNvPr id="33" name="Picture 32">
                    <a:extLst>
                      <a:ext uri="{FF2B5EF4-FFF2-40B4-BE49-F238E27FC236}">
                        <a16:creationId xmlns:a16="http://schemas.microsoft.com/office/drawing/2014/main" id="{371571F3-FD9A-F007-66F5-D0C7EE1FEA9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7"/>
                  <a:stretch>
                    <a:fillRect/>
                  </a:stretch>
                </p:blipFill>
                <p:spPr>
                  <a:xfrm>
                    <a:off x="5160197" y="3002575"/>
                    <a:ext cx="920495" cy="942858"/>
                  </a:xfrm>
                  <a:prstGeom prst="rect">
                    <a:avLst/>
                  </a:prstGeom>
                </p:spPr>
              </p:pic>
              <p:pic>
                <p:nvPicPr>
                  <p:cNvPr id="34" name="Picture 33">
                    <a:extLst>
                      <a:ext uri="{FF2B5EF4-FFF2-40B4-BE49-F238E27FC236}">
                        <a16:creationId xmlns:a16="http://schemas.microsoft.com/office/drawing/2014/main" id="{8BC086B6-49D1-6563-D7E6-F16C4E5C23E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7"/>
                  <a:stretch>
                    <a:fillRect/>
                  </a:stretch>
                </p:blipFill>
                <p:spPr>
                  <a:xfrm>
                    <a:off x="5181318" y="2003175"/>
                    <a:ext cx="920495" cy="942858"/>
                  </a:xfrm>
                  <a:prstGeom prst="rect">
                    <a:avLst/>
                  </a:prstGeom>
                </p:spPr>
              </p:pic>
              <p:pic>
                <p:nvPicPr>
                  <p:cNvPr id="35" name="Picture 34">
                    <a:extLst>
                      <a:ext uri="{FF2B5EF4-FFF2-40B4-BE49-F238E27FC236}">
                        <a16:creationId xmlns:a16="http://schemas.microsoft.com/office/drawing/2014/main" id="{B453880B-6BDD-4364-98CA-3F2EAC32436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7"/>
                  <a:stretch>
                    <a:fillRect/>
                  </a:stretch>
                </p:blipFill>
                <p:spPr>
                  <a:xfrm>
                    <a:off x="5197608" y="3982884"/>
                    <a:ext cx="920495" cy="942858"/>
                  </a:xfrm>
                  <a:prstGeom prst="rect">
                    <a:avLst/>
                  </a:prstGeom>
                </p:spPr>
              </p:pic>
              <p:cxnSp>
                <p:nvCxnSpPr>
                  <p:cNvPr id="36" name="Straight Arrow Connector 35">
                    <a:extLst>
                      <a:ext uri="{FF2B5EF4-FFF2-40B4-BE49-F238E27FC236}">
                        <a16:creationId xmlns:a16="http://schemas.microsoft.com/office/drawing/2014/main" id="{A4B98F72-EF50-9959-0F06-505CF4CF3197}"/>
                      </a:ext>
                    </a:extLst>
                  </p:cNvPr>
                  <p:cNvCxnSpPr>
                    <a:stCxn id="30" idx="3"/>
                  </p:cNvCxnSpPr>
                  <p:nvPr/>
                </p:nvCxnSpPr>
                <p:spPr>
                  <a:xfrm>
                    <a:off x="6065747" y="1568319"/>
                    <a:ext cx="1676689" cy="1856417"/>
                  </a:xfrm>
                  <a:prstGeom prst="straightConnector1">
                    <a:avLst/>
                  </a:prstGeom>
                  <a:noFill/>
                  <a:ln w="25400" cap="flat" cmpd="sng" algn="ctr">
                    <a:solidFill>
                      <a:srgbClr val="DC6E00"/>
                    </a:solidFill>
                    <a:prstDash val="solid"/>
                    <a:headEnd type="none" w="med" len="med"/>
                    <a:tailEnd type="arrow" w="med" len="med"/>
                  </a:ln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p:spPr>
              </p:cxnSp>
              <p:cxnSp>
                <p:nvCxnSpPr>
                  <p:cNvPr id="37" name="Straight Arrow Connector 36">
                    <a:extLst>
                      <a:ext uri="{FF2B5EF4-FFF2-40B4-BE49-F238E27FC236}">
                        <a16:creationId xmlns:a16="http://schemas.microsoft.com/office/drawing/2014/main" id="{B234879C-9498-9B04-0667-925BB138B289}"/>
                      </a:ext>
                    </a:extLst>
                  </p:cNvPr>
                  <p:cNvCxnSpPr>
                    <a:cxnSpLocks/>
                    <a:stCxn id="33" idx="3"/>
                    <a:endCxn id="23" idx="1"/>
                  </p:cNvCxnSpPr>
                  <p:nvPr/>
                </p:nvCxnSpPr>
                <p:spPr>
                  <a:xfrm>
                    <a:off x="6080692" y="3474004"/>
                    <a:ext cx="1671944" cy="650132"/>
                  </a:xfrm>
                  <a:prstGeom prst="straightConnector1">
                    <a:avLst/>
                  </a:prstGeom>
                  <a:noFill/>
                  <a:ln w="25400" cap="flat" cmpd="sng" algn="ctr">
                    <a:solidFill>
                      <a:srgbClr val="DC6E00"/>
                    </a:solidFill>
                    <a:prstDash val="solid"/>
                    <a:headEnd type="none" w="med" len="med"/>
                    <a:tailEnd type="triangle" w="med" len="med"/>
                  </a:ln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p:spPr>
              </p:cxnSp>
              <p:cxnSp>
                <p:nvCxnSpPr>
                  <p:cNvPr id="38" name="Straight Arrow Connector 37">
                    <a:extLst>
                      <a:ext uri="{FF2B5EF4-FFF2-40B4-BE49-F238E27FC236}">
                        <a16:creationId xmlns:a16="http://schemas.microsoft.com/office/drawing/2014/main" id="{BFBF534B-06E3-EA40-3A48-D2A509E36DF5}"/>
                      </a:ext>
                    </a:extLst>
                  </p:cNvPr>
                  <p:cNvCxnSpPr>
                    <a:cxnSpLocks/>
                    <a:stCxn id="34" idx="3"/>
                  </p:cNvCxnSpPr>
                  <p:nvPr/>
                </p:nvCxnSpPr>
                <p:spPr>
                  <a:xfrm>
                    <a:off x="6101813" y="2474604"/>
                    <a:ext cx="1579353" cy="1209014"/>
                  </a:xfrm>
                  <a:prstGeom prst="straightConnector1">
                    <a:avLst/>
                  </a:prstGeom>
                  <a:noFill/>
                  <a:ln w="25400" cap="flat" cmpd="sng" algn="ctr">
                    <a:solidFill>
                      <a:srgbClr val="DC6E00"/>
                    </a:solidFill>
                    <a:prstDash val="solid"/>
                    <a:headEnd type="none" w="med" len="med"/>
                    <a:tailEnd type="triangle" w="med" len="med"/>
                  </a:ln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p:spPr>
              </p:cxnSp>
            </p:grpSp>
            <p:pic>
              <p:nvPicPr>
                <p:cNvPr id="29" name="Picture 28">
                  <a:extLst>
                    <a:ext uri="{FF2B5EF4-FFF2-40B4-BE49-F238E27FC236}">
                      <a16:creationId xmlns:a16="http://schemas.microsoft.com/office/drawing/2014/main" id="{51A90719-99F0-8486-2EC3-2AC314154CF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4694630" y="5024091"/>
                  <a:ext cx="920495" cy="942858"/>
                </a:xfrm>
                <a:prstGeom prst="rect">
                  <a:avLst/>
                </a:prstGeom>
              </p:spPr>
            </p:pic>
          </p:grpSp>
          <p:cxnSp>
            <p:nvCxnSpPr>
              <p:cNvPr id="25" name="Straight Arrow Connector 24">
                <a:extLst>
                  <a:ext uri="{FF2B5EF4-FFF2-40B4-BE49-F238E27FC236}">
                    <a16:creationId xmlns:a16="http://schemas.microsoft.com/office/drawing/2014/main" id="{F4B618F4-F742-B142-DB95-43D91E191E1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560156" y="4879841"/>
                <a:ext cx="1608177" cy="486452"/>
              </a:xfrm>
              <a:prstGeom prst="straightConnector1">
                <a:avLst/>
              </a:prstGeom>
              <a:noFill/>
              <a:ln w="25400" cap="flat" cmpd="sng" algn="ctr">
                <a:solidFill>
                  <a:srgbClr val="DC6E00"/>
                </a:solidFill>
                <a:prstDash val="solid"/>
                <a:headEnd type="none" w="med" len="med"/>
                <a:tailEnd type="triangle" w="med" len="me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A6399598-3B43-7218-06C3-B4C5F145B57E}"/>
                  </a:ext>
                </a:extLst>
              </p:cNvPr>
              <p:cNvSpPr txBox="1"/>
              <p:nvPr/>
            </p:nvSpPr>
            <p:spPr>
              <a:xfrm>
                <a:off x="6205727" y="2364432"/>
                <a:ext cx="1082825" cy="418239"/>
              </a:xfrm>
              <a:prstGeom prst="rect">
                <a:avLst/>
              </a:prstGeom>
              <a:solidFill>
                <a:srgbClr val="B785B7">
                  <a:lumMod val="60000"/>
                  <a:lumOff val="40000"/>
                </a:srgbClr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Internet </a:t>
                </a: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88CB255B-B489-8BE6-6E1F-CAD75124B8EE}"/>
                  </a:ext>
                </a:extLst>
              </p:cNvPr>
              <p:cNvSpPr txBox="1"/>
              <p:nvPr/>
            </p:nvSpPr>
            <p:spPr>
              <a:xfrm>
                <a:off x="2491341" y="925352"/>
                <a:ext cx="2036743" cy="311786"/>
              </a:xfrm>
              <a:prstGeom prst="rect">
                <a:avLst/>
              </a:prstGeom>
              <a:solidFill>
                <a:srgbClr val="FEEC00"/>
              </a:solidFill>
            </p:spPr>
            <p:txBody>
              <a:bodyPr wrap="square" rtlCol="0">
                <a:spAutoFit/>
              </a:bodyPr>
              <a:lstStyle>
                <a:defPPr>
                  <a:defRPr lang="fr-FR"/>
                </a:defPPr>
                <a:lvl1pPr>
                  <a:defRPr sz="1400" b="1"/>
                </a:lvl1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rPr>
                  <a:t>Each Lab   </a:t>
                </a:r>
              </a:p>
            </p:txBody>
          </p:sp>
        </p:grp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313417A8-B32E-69B6-40BC-E4FD645F0729}"/>
                </a:ext>
              </a:extLst>
            </p:cNvPr>
            <p:cNvSpPr txBox="1"/>
            <p:nvPr/>
          </p:nvSpPr>
          <p:spPr>
            <a:xfrm>
              <a:off x="7738925" y="717211"/>
              <a:ext cx="2123545" cy="307101"/>
            </a:xfrm>
            <a:prstGeom prst="rect">
              <a:avLst/>
            </a:prstGeom>
            <a:solidFill>
              <a:srgbClr val="FEEC00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Cloud</a:t>
              </a: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0F7F2827-97B6-D354-BED2-EA52F5A6271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016026" y="5671465"/>
              <a:ext cx="1034466" cy="928692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42421C74-5840-19CB-907E-4642F226FC1D}"/>
                </a:ext>
              </a:extLst>
            </p:cNvPr>
            <p:cNvSpPr/>
            <p:nvPr/>
          </p:nvSpPr>
          <p:spPr>
            <a:xfrm>
              <a:off x="4940603" y="1264581"/>
              <a:ext cx="933837" cy="275572"/>
            </a:xfrm>
            <a:prstGeom prst="rect">
              <a:avLst/>
            </a:prstGeom>
            <a:solidFill>
              <a:srgbClr val="5A2259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NTRL 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4AA8CEC-5D66-0BE5-70C6-E8DDB439C18F}"/>
                </a:ext>
              </a:extLst>
            </p:cNvPr>
            <p:cNvSpPr/>
            <p:nvPr/>
          </p:nvSpPr>
          <p:spPr>
            <a:xfrm>
              <a:off x="4967598" y="2194223"/>
              <a:ext cx="933837" cy="275572"/>
            </a:xfrm>
            <a:prstGeom prst="rect">
              <a:avLst/>
            </a:prstGeom>
            <a:solidFill>
              <a:srgbClr val="5A2259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RTRL-1 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4D76982-03C6-02C2-70DE-AAE0C49BD0FD}"/>
                </a:ext>
              </a:extLst>
            </p:cNvPr>
            <p:cNvSpPr/>
            <p:nvPr/>
          </p:nvSpPr>
          <p:spPr>
            <a:xfrm>
              <a:off x="4945226" y="3134717"/>
              <a:ext cx="933837" cy="275572"/>
            </a:xfrm>
            <a:prstGeom prst="rect">
              <a:avLst/>
            </a:prstGeom>
            <a:solidFill>
              <a:srgbClr val="5A2259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RTRL-2 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64200A8-38FA-C2E4-237F-210BDE6F5ADD}"/>
                </a:ext>
              </a:extLst>
            </p:cNvPr>
            <p:cNvSpPr/>
            <p:nvPr/>
          </p:nvSpPr>
          <p:spPr>
            <a:xfrm>
              <a:off x="4982539" y="4123733"/>
              <a:ext cx="933837" cy="275572"/>
            </a:xfrm>
            <a:prstGeom prst="rect">
              <a:avLst/>
            </a:prstGeom>
            <a:solidFill>
              <a:srgbClr val="5A2259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RTRL-3 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658B246-E022-8656-3485-2AD010E16C3A}"/>
                </a:ext>
              </a:extLst>
            </p:cNvPr>
            <p:cNvSpPr/>
            <p:nvPr/>
          </p:nvSpPr>
          <p:spPr>
            <a:xfrm>
              <a:off x="5020982" y="5026590"/>
              <a:ext cx="933837" cy="275572"/>
            </a:xfrm>
            <a:prstGeom prst="rect">
              <a:avLst/>
            </a:prstGeom>
            <a:solidFill>
              <a:srgbClr val="5A2259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RTRL-4 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B6AA6CC-BC23-C605-A491-DEE4FE4AC261}"/>
                </a:ext>
              </a:extLst>
            </p:cNvPr>
            <p:cNvSpPr/>
            <p:nvPr/>
          </p:nvSpPr>
          <p:spPr>
            <a:xfrm>
              <a:off x="5045467" y="5888281"/>
              <a:ext cx="933837" cy="275572"/>
            </a:xfrm>
            <a:prstGeom prst="rect">
              <a:avLst/>
            </a:prstGeom>
            <a:solidFill>
              <a:srgbClr val="5A2259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RTRL-5 </a:t>
              </a:r>
            </a:p>
          </p:txBody>
        </p: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30F1F390-F2A4-22DA-24E7-4B298B47A791}"/>
                </a:ext>
              </a:extLst>
            </p:cNvPr>
            <p:cNvCxnSpPr>
              <a:cxnSpLocks/>
              <a:stCxn id="13" idx="3"/>
            </p:cNvCxnSpPr>
            <p:nvPr/>
          </p:nvCxnSpPr>
          <p:spPr>
            <a:xfrm flipV="1">
              <a:off x="6050492" y="4816044"/>
              <a:ext cx="1849490" cy="1319767"/>
            </a:xfrm>
            <a:prstGeom prst="straightConnector1">
              <a:avLst/>
            </a:prstGeom>
            <a:noFill/>
            <a:ln w="25400" cap="flat" cmpd="sng" algn="ctr">
              <a:solidFill>
                <a:srgbClr val="DC6E00"/>
              </a:solidFill>
              <a:prstDash val="solid"/>
              <a:headEnd type="none" w="med" len="med"/>
              <a:tailEnd type="triangl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</p:grpSp>
    </p:spTree>
    <p:extLst>
      <p:ext uri="{BB962C8B-B14F-4D97-AF65-F5344CB8AC3E}">
        <p14:creationId xmlns:p14="http://schemas.microsoft.com/office/powerpoint/2010/main" val="27539105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5BD963D-B43D-08E6-3CD9-E9429249EAF0}"/>
              </a:ext>
            </a:extLst>
          </p:cNvPr>
          <p:cNvSpPr/>
          <p:nvPr/>
        </p:nvSpPr>
        <p:spPr>
          <a:xfrm>
            <a:off x="1402914" y="363255"/>
            <a:ext cx="9127063" cy="683417"/>
          </a:xfrm>
          <a:prstGeom prst="rect">
            <a:avLst/>
          </a:prstGeom>
          <a:solidFill>
            <a:srgbClr val="3B680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 dirty="0"/>
          </a:p>
          <a:p>
            <a:pPr algn="ctr"/>
            <a:r>
              <a:rPr lang="en-US" sz="2000" dirty="0"/>
              <a:t>Proposed structure of Data flow movement from lab to central cloud at NAAT sites</a:t>
            </a:r>
          </a:p>
          <a:p>
            <a:pPr algn="ctr"/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9E9644EA-2F0D-3984-ABED-B982CF618F1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6196" y="1639568"/>
            <a:ext cx="9184256" cy="462805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4710263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Content Placeholder 60">
            <a:extLst>
              <a:ext uri="{FF2B5EF4-FFF2-40B4-BE49-F238E27FC236}">
                <a16:creationId xmlns:a16="http://schemas.microsoft.com/office/drawing/2014/main" id="{A496A1BE-CE0E-6C00-E106-158B80CD197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789436" y="1547453"/>
            <a:ext cx="8614715" cy="4591050"/>
          </a:xfrm>
          <a:prstGeom prst="rect">
            <a:avLst/>
          </a:prstGeom>
        </p:spPr>
      </p:pic>
      <p:sp>
        <p:nvSpPr>
          <p:cNvPr id="62" name="Rectangle 61">
            <a:extLst>
              <a:ext uri="{FF2B5EF4-FFF2-40B4-BE49-F238E27FC236}">
                <a16:creationId xmlns:a16="http://schemas.microsoft.com/office/drawing/2014/main" id="{47541D8E-C20E-0DFD-01B3-F0A597777B95}"/>
              </a:ext>
            </a:extLst>
          </p:cNvPr>
          <p:cNvSpPr/>
          <p:nvPr/>
        </p:nvSpPr>
        <p:spPr>
          <a:xfrm>
            <a:off x="1385662" y="463124"/>
            <a:ext cx="9081370" cy="579900"/>
          </a:xfrm>
          <a:prstGeom prst="rect">
            <a:avLst/>
          </a:prstGeom>
          <a:solidFill>
            <a:srgbClr val="3B680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Future Proposed structure of Integrations of Various Platforms </a:t>
            </a:r>
          </a:p>
        </p:txBody>
      </p:sp>
    </p:spTree>
    <p:extLst>
      <p:ext uri="{BB962C8B-B14F-4D97-AF65-F5344CB8AC3E}">
        <p14:creationId xmlns:p14="http://schemas.microsoft.com/office/powerpoint/2010/main" val="39518083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CEBEA4-F59F-5487-D4B4-833ACBE246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sz="3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03E7BBA-CF94-4979-1ABC-2F10476433EC}"/>
              </a:ext>
            </a:extLst>
          </p:cNvPr>
          <p:cNvSpPr/>
          <p:nvPr/>
        </p:nvSpPr>
        <p:spPr>
          <a:xfrm>
            <a:off x="2114883" y="529007"/>
            <a:ext cx="7903923" cy="527598"/>
          </a:xfrm>
          <a:prstGeom prst="rect">
            <a:avLst/>
          </a:prstGeom>
          <a:solidFill>
            <a:srgbClr val="3B680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B-LIMS, Lab/RTRL/NTRL Login 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D09790C-844F-0533-ACC6-0BCE328A3BAC}"/>
              </a:ext>
            </a:extLst>
          </p:cNvPr>
          <p:cNvSpPr/>
          <p:nvPr/>
        </p:nvSpPr>
        <p:spPr>
          <a:xfrm>
            <a:off x="4708086" y="3316266"/>
            <a:ext cx="2590800" cy="762000"/>
          </a:xfrm>
          <a:prstGeom prst="rect">
            <a:avLst/>
          </a:prstGeom>
          <a:solidFill>
            <a:srgbClr val="A3C87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pecimen Registration</a:t>
            </a: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A817139-F60A-B15A-1B46-97FF1770C904}"/>
              </a:ext>
            </a:extLst>
          </p:cNvPr>
          <p:cNvSpPr/>
          <p:nvPr/>
        </p:nvSpPr>
        <p:spPr>
          <a:xfrm>
            <a:off x="4068624" y="1634516"/>
            <a:ext cx="1689564" cy="762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Microscopy</a:t>
            </a:r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6027728-5A94-18EB-7483-877992715544}"/>
              </a:ext>
            </a:extLst>
          </p:cNvPr>
          <p:cNvSpPr/>
          <p:nvPr/>
        </p:nvSpPr>
        <p:spPr>
          <a:xfrm>
            <a:off x="5994405" y="1634516"/>
            <a:ext cx="1869673" cy="762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GeneXpert (MTB/RIF) &amp; Ultra</a:t>
            </a:r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BD8CCF5-6EEA-135F-DFF2-8A39E49064E2}"/>
              </a:ext>
            </a:extLst>
          </p:cNvPr>
          <p:cNvSpPr/>
          <p:nvPr/>
        </p:nvSpPr>
        <p:spPr>
          <a:xfrm>
            <a:off x="8149133" y="1649948"/>
            <a:ext cx="1869673" cy="762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>
                <a:solidFill>
                  <a:schemeClr val="bg1"/>
                </a:solidFill>
              </a:rPr>
              <a:t>GenXpert</a:t>
            </a:r>
            <a:r>
              <a:rPr lang="en-US" dirty="0">
                <a:solidFill>
                  <a:schemeClr val="bg1"/>
                </a:solidFill>
              </a:rPr>
              <a:t> XDR </a:t>
            </a:r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1521792-A21F-D577-874B-BB54CE025060}"/>
              </a:ext>
            </a:extLst>
          </p:cNvPr>
          <p:cNvSpPr/>
          <p:nvPr/>
        </p:nvSpPr>
        <p:spPr>
          <a:xfrm>
            <a:off x="2056773" y="1624222"/>
            <a:ext cx="1689564" cy="795351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ruenat</a:t>
            </a:r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B724AF8-C4FA-DF4F-3E9F-B00FA2EE4D2A}"/>
              </a:ext>
            </a:extLst>
          </p:cNvPr>
          <p:cNvSpPr/>
          <p:nvPr/>
        </p:nvSpPr>
        <p:spPr>
          <a:xfrm>
            <a:off x="2237337" y="4993980"/>
            <a:ext cx="1689556" cy="770292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1</a:t>
            </a:r>
            <a:r>
              <a:rPr lang="en-US" baseline="30000" dirty="0">
                <a:solidFill>
                  <a:schemeClr val="bg1"/>
                </a:solidFill>
              </a:rPr>
              <a:t>st</a:t>
            </a:r>
            <a:r>
              <a:rPr lang="en-US" dirty="0">
                <a:solidFill>
                  <a:schemeClr val="bg1"/>
                </a:solidFill>
              </a:rPr>
              <a:t> line LPA</a:t>
            </a:r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E5E87B7-EA7C-7F6F-C035-C0366F1C7117}"/>
              </a:ext>
            </a:extLst>
          </p:cNvPr>
          <p:cNvSpPr/>
          <p:nvPr/>
        </p:nvSpPr>
        <p:spPr>
          <a:xfrm>
            <a:off x="4389929" y="5015168"/>
            <a:ext cx="1689564" cy="762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</a:t>
            </a:r>
            <a:r>
              <a:rPr lang="en-US" baseline="30000" dirty="0">
                <a:solidFill>
                  <a:schemeClr val="bg1"/>
                </a:solidFill>
              </a:rPr>
              <a:t>nd</a:t>
            </a:r>
            <a:r>
              <a:rPr lang="en-US" dirty="0">
                <a:solidFill>
                  <a:schemeClr val="bg1"/>
                </a:solidFill>
              </a:rPr>
              <a:t> line LPA</a:t>
            </a:r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08877A7-6398-8B5F-BE68-EE142DF6039B}"/>
              </a:ext>
            </a:extLst>
          </p:cNvPr>
          <p:cNvSpPr/>
          <p:nvPr/>
        </p:nvSpPr>
        <p:spPr>
          <a:xfrm>
            <a:off x="6416844" y="5002272"/>
            <a:ext cx="1689564" cy="762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Culture</a:t>
            </a:r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0FEA182-1654-B79B-BFAE-AC8751150842}"/>
              </a:ext>
            </a:extLst>
          </p:cNvPr>
          <p:cNvSpPr/>
          <p:nvPr/>
        </p:nvSpPr>
        <p:spPr>
          <a:xfrm>
            <a:off x="8443759" y="5002272"/>
            <a:ext cx="1689564" cy="762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DST</a:t>
            </a:r>
            <a:endParaRPr lang="en-IN" dirty="0">
              <a:solidFill>
                <a:schemeClr val="bg1"/>
              </a:solidFill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A724B5C-8DFD-9286-90B8-44793DDA7DA0}"/>
              </a:ext>
            </a:extLst>
          </p:cNvPr>
          <p:cNvCxnSpPr>
            <a:cxnSpLocks/>
          </p:cNvCxnSpPr>
          <p:nvPr/>
        </p:nvCxnSpPr>
        <p:spPr>
          <a:xfrm flipV="1">
            <a:off x="2946060" y="2796720"/>
            <a:ext cx="6257147" cy="138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3852B94-3DF5-FBD8-8A87-B3DF555FC5AC}"/>
              </a:ext>
            </a:extLst>
          </p:cNvPr>
          <p:cNvCxnSpPr/>
          <p:nvPr/>
        </p:nvCxnSpPr>
        <p:spPr>
          <a:xfrm flipV="1">
            <a:off x="2946060" y="2425802"/>
            <a:ext cx="0" cy="3847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E11265D7-0C4C-FD93-5212-1AA47713C53E}"/>
              </a:ext>
            </a:extLst>
          </p:cNvPr>
          <p:cNvCxnSpPr/>
          <p:nvPr/>
        </p:nvCxnSpPr>
        <p:spPr>
          <a:xfrm flipV="1">
            <a:off x="4885697" y="2396516"/>
            <a:ext cx="0" cy="3847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BEE0566E-2B7B-AD84-8595-851ED5FFF302}"/>
              </a:ext>
            </a:extLst>
          </p:cNvPr>
          <p:cNvCxnSpPr/>
          <p:nvPr/>
        </p:nvCxnSpPr>
        <p:spPr>
          <a:xfrm flipV="1">
            <a:off x="6929241" y="2396515"/>
            <a:ext cx="0" cy="3847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3575251E-C4A2-BDF1-383E-A60858447588}"/>
              </a:ext>
            </a:extLst>
          </p:cNvPr>
          <p:cNvCxnSpPr/>
          <p:nvPr/>
        </p:nvCxnSpPr>
        <p:spPr>
          <a:xfrm flipV="1">
            <a:off x="9207963" y="2396514"/>
            <a:ext cx="0" cy="3847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B64B307D-5325-5A72-E0AE-9680238C3D88}"/>
              </a:ext>
            </a:extLst>
          </p:cNvPr>
          <p:cNvCxnSpPr>
            <a:cxnSpLocks/>
          </p:cNvCxnSpPr>
          <p:nvPr/>
        </p:nvCxnSpPr>
        <p:spPr>
          <a:xfrm flipV="1">
            <a:off x="5903278" y="2781287"/>
            <a:ext cx="0" cy="53497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A01AE1D-A4CA-AC98-5F28-FBB3065DD5A3}"/>
              </a:ext>
            </a:extLst>
          </p:cNvPr>
          <p:cNvCxnSpPr>
            <a:cxnSpLocks/>
          </p:cNvCxnSpPr>
          <p:nvPr/>
        </p:nvCxnSpPr>
        <p:spPr>
          <a:xfrm>
            <a:off x="2901555" y="4632931"/>
            <a:ext cx="65104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AAC623C2-3441-1A70-4614-29B375EAA5BD}"/>
              </a:ext>
            </a:extLst>
          </p:cNvPr>
          <p:cNvCxnSpPr/>
          <p:nvPr/>
        </p:nvCxnSpPr>
        <p:spPr>
          <a:xfrm>
            <a:off x="5052133" y="4648864"/>
            <a:ext cx="0" cy="3507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539F9D64-1629-5DA3-7257-A0FC313E634D}"/>
              </a:ext>
            </a:extLst>
          </p:cNvPr>
          <p:cNvCxnSpPr/>
          <p:nvPr/>
        </p:nvCxnSpPr>
        <p:spPr>
          <a:xfrm>
            <a:off x="7036158" y="4637667"/>
            <a:ext cx="0" cy="3507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90716412-FE7B-33F3-F9CC-CB40C15B0034}"/>
              </a:ext>
            </a:extLst>
          </p:cNvPr>
          <p:cNvCxnSpPr/>
          <p:nvPr/>
        </p:nvCxnSpPr>
        <p:spPr>
          <a:xfrm>
            <a:off x="9412930" y="4620405"/>
            <a:ext cx="0" cy="3507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D9B19FC7-6D5D-7659-A00C-1A00736486FA}"/>
              </a:ext>
            </a:extLst>
          </p:cNvPr>
          <p:cNvCxnSpPr/>
          <p:nvPr/>
        </p:nvCxnSpPr>
        <p:spPr>
          <a:xfrm flipV="1">
            <a:off x="5940856" y="4078266"/>
            <a:ext cx="0" cy="534979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65E94F86-F8F9-5BA3-8943-252DFF6D12FF}"/>
              </a:ext>
            </a:extLst>
          </p:cNvPr>
          <p:cNvCxnSpPr/>
          <p:nvPr/>
        </p:nvCxnSpPr>
        <p:spPr>
          <a:xfrm>
            <a:off x="2874697" y="4625900"/>
            <a:ext cx="0" cy="3507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21143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2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EE4P_MASTERWIZARD_MARGINS" val="0"/>
  <p:tag name="EE4P_STYLE_ID" val="KwuiTUoX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oMydtSgFos7l78lxWp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*FIND template*">
  <a:themeElements>
    <a:clrScheme name="*FIND template*">
      <a:dk1>
        <a:srgbClr val="000000"/>
      </a:dk1>
      <a:lt1>
        <a:srgbClr val="FFFFFF"/>
      </a:lt1>
      <a:dk2>
        <a:srgbClr val="43ABB6"/>
      </a:dk2>
      <a:lt2>
        <a:srgbClr val="8C9EAB"/>
      </a:lt2>
      <a:accent1>
        <a:srgbClr val="5A2259"/>
      </a:accent1>
      <a:accent2>
        <a:srgbClr val="43ABB6"/>
      </a:accent2>
      <a:accent3>
        <a:srgbClr val="D3553F"/>
      </a:accent3>
      <a:accent4>
        <a:srgbClr val="8C9EAB"/>
      </a:accent4>
      <a:accent5>
        <a:srgbClr val="B785B7"/>
      </a:accent5>
      <a:accent6>
        <a:srgbClr val="4C5B68"/>
      </a:accent6>
      <a:hlink>
        <a:srgbClr val="8B518B"/>
      </a:hlink>
      <a:folHlink>
        <a:srgbClr val="B785B7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5A2259"/>
        </a:solidFill>
        <a:ln w="9525">
          <a:noFill/>
        </a:ln>
        <a:effectLst/>
      </a:spPr>
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7F7F7F"/>
          </a:solidFill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1440" bIns="91440" rtlCol="0">
        <a:spAutoFit/>
      </a:bodyPr>
      <a:lstStyle>
        <a:defPPr>
          <a:defRPr sz="1400" dirty="0" smtClean="0">
            <a:solidFill>
              <a:srgbClr val="000000"/>
            </a:solidFill>
          </a:defRPr>
        </a:defPPr>
      </a:lstStyle>
    </a:txDef>
  </a:objectDefaults>
  <a:extraClrSchemeLst>
    <a:extraClrScheme>
      <a:clrScheme name="FIND 2017 - 07-2017">
        <a:dk1>
          <a:srgbClr val="000000"/>
        </a:dk1>
        <a:lt1>
          <a:srgbClr val="FFFFFF"/>
        </a:lt1>
        <a:dk2>
          <a:srgbClr val="43ABB6"/>
        </a:dk2>
        <a:lt2>
          <a:srgbClr val="8C9EAB"/>
        </a:lt2>
        <a:accent1>
          <a:srgbClr val="EEF1F2"/>
        </a:accent1>
        <a:accent2>
          <a:srgbClr val="D3F4F7"/>
        </a:accent2>
        <a:accent3>
          <a:srgbClr val="C5CED5"/>
        </a:accent3>
        <a:accent4>
          <a:srgbClr val="4C5B68"/>
        </a:accent4>
        <a:accent5>
          <a:srgbClr val="B785B7"/>
        </a:accent5>
        <a:accent6>
          <a:srgbClr val="5A2259"/>
        </a:accent6>
        <a:hlink>
          <a:srgbClr val="8B518B"/>
        </a:hlink>
        <a:folHlink>
          <a:srgbClr val="B785B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Teal">
      <a:srgbClr val="43ABB6"/>
    </a:custClr>
    <a:custClr name="White">
      <a:srgbClr val="FFFFFF"/>
    </a:custClr>
    <a:custClr name="Black">
      <a:srgbClr val="000000"/>
    </a:custClr>
    <a:custClr name="Light Teal">
      <a:srgbClr val="D3F4F7"/>
    </a:custClr>
    <a:custClr name="Medium Teal">
      <a:srgbClr val="8ED5DC"/>
    </a:custClr>
    <a:custClr name="Dark Teal">
      <a:srgbClr val="307C84"/>
    </a:custClr>
    <a:custClr name="Light Gray">
      <a:srgbClr val="EEF1F2"/>
    </a:custClr>
    <a:custClr name="Medium Gray">
      <a:srgbClr val="C5CED5"/>
    </a:custClr>
    <a:custClr name="Gray">
      <a:srgbClr val="8C9EAB"/>
    </a:custClr>
    <a:custClr name="Dark Gray">
      <a:srgbClr val="4C5B68"/>
    </a:custClr>
    <a:custClr name="Light Purple">
      <a:srgbClr val="F2D6F2"/>
    </a:custClr>
    <a:custClr name="Medium Purple">
      <a:srgbClr val="B785B7"/>
    </a:custClr>
    <a:custClr name="Purple">
      <a:srgbClr val="8B518B"/>
    </a:custClr>
    <a:custClr name="Dark Purple">
      <a:srgbClr val="5A2259"/>
    </a:custClr>
    <a:custClr name="Light Orange">
      <a:srgbClr val="FFE6AF"/>
    </a:custClr>
    <a:custClr name="Medium Orange">
      <a:srgbClr val="FDC569"/>
    </a:custClr>
    <a:custClr name="Orange">
      <a:srgbClr val="F79646"/>
    </a:custClr>
    <a:custClr name="Dark Orange">
      <a:srgbClr val="D3553F"/>
    </a:custClr>
    <a:custClr name="Light Green">
      <a:srgbClr val="DEEFCD"/>
    </a:custClr>
    <a:custClr name="Medium Green">
      <a:srgbClr val="A3C87E"/>
    </a:custClr>
    <a:custClr name="Green">
      <a:srgbClr val="669735"/>
    </a:custClr>
    <a:custClr name="Dark Green">
      <a:srgbClr val="3B680E"/>
    </a:custClr>
    <a:custClr name="Light Blue">
      <a:srgbClr val="D8E7F8"/>
    </a:custClr>
    <a:custClr name="Medium Blue">
      <a:srgbClr val="95BADF"/>
    </a:custClr>
    <a:custClr name="Blue">
      <a:srgbClr val="4580BB"/>
    </a:custClr>
    <a:custClr name="Dark Blue">
      <a:srgbClr val="2F5E8D"/>
    </a:custClr>
    <a:custClr name="Light Brown">
      <a:srgbClr val="F0DCC8"/>
    </a:custClr>
    <a:custClr name="Medium Brown">
      <a:srgbClr val="C89D72"/>
    </a:custClr>
    <a:custClr name="Brown">
      <a:srgbClr val="8F6235"/>
    </a:custClr>
    <a:custClr name="Dark Brown">
      <a:srgbClr val="5F3913"/>
    </a:custClr>
    <a:custClr name="Accent Yellow">
      <a:srgbClr val="FEEC00"/>
    </a:custClr>
    <a:custClr name="Accent Orange">
      <a:srgbClr val="DC6E00"/>
    </a:custClr>
    <a:custClr name="Accent Bright Red">
      <a:srgbClr val="FF0000"/>
    </a:custClr>
    <a:custClr name="Accent Red">
      <a:srgbClr val="C41300"/>
    </a:custClr>
    <a:custClr name="Accent Green">
      <a:srgbClr val="06C245"/>
    </a:custClr>
    <a:custClr name="Accent Blue">
      <a:srgbClr val="008FC8"/>
    </a:custClr>
    <a:custClr name="Accent Violet">
      <a:srgbClr val="CC0099"/>
    </a:custClr>
  </a:custClrLst>
  <a:extLst>
    <a:ext uri="{05A4C25C-085E-4340-85A3-A5531E510DB2}">
      <thm15:themeFamily xmlns:thm15="http://schemas.microsoft.com/office/thememl/2012/main" name="blank.potx" id="{AB4EB1FF-5992-4542-87C8-4624D2AD5E3A}" vid="{86B8886F-6CF6-40DE-BCD3-1A25D72C45F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a1bbd72-f46e-43f3-8f72-2623deb0c047">
      <UserInfo>
        <DisplayName/>
        <AccountId xsi:nil="true"/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6E9EF62B87021448D745F43C4B11C16" ma:contentTypeVersion="15" ma:contentTypeDescription="Create a new document." ma:contentTypeScope="" ma:versionID="57fe97b00d2a8810b6fa50ee1ce191fd">
  <xsd:schema xmlns:xsd="http://www.w3.org/2001/XMLSchema" xmlns:xs="http://www.w3.org/2001/XMLSchema" xmlns:p="http://schemas.microsoft.com/office/2006/metadata/properties" xmlns:ns2="5a1bbd72-f46e-43f3-8f72-2623deb0c047" xmlns:ns3="10c4dcad-8d39-4939-b489-2456ead71196" targetNamespace="http://schemas.microsoft.com/office/2006/metadata/properties" ma:root="true" ma:fieldsID="1bf4807efc55adc60f81b37488c3aad2" ns2:_="" ns3:_="">
    <xsd:import namespace="5a1bbd72-f46e-43f3-8f72-2623deb0c047"/>
    <xsd:import namespace="10c4dcad-8d39-4939-b489-2456ead71196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3:SharedWithDetails" minOccurs="0"/>
                <xsd:element ref="ns2:MediaServiceOCR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1bbd72-f46e-43f3-8f72-2623deb0c04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list="UserInfo" ma:SearchPeopleOnly="false" ma:internalName="SharedWithUsers" ma:readOnly="fals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c4dcad-8d39-4939-b489-2456ead71196" elementFormDefault="qualified">
    <xsd:import namespace="http://schemas.microsoft.com/office/2006/documentManagement/types"/>
    <xsd:import namespace="http://schemas.microsoft.com/office/infopath/2007/PartnerControls"/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FF185EE-9726-4FAC-8A8C-F4FF7EEB7FA7}">
  <ds:schemaRefs>
    <ds:schemaRef ds:uri="http://schemas.microsoft.com/office/2006/documentManagement/types"/>
    <ds:schemaRef ds:uri="http://schemas.microsoft.com/office/infopath/2007/PartnerControls"/>
    <ds:schemaRef ds:uri="92297be3-05ad-4194-8456-bf53b0948fb2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  <ds:schemaRef ds:uri="5a1bbd72-f46e-43f3-8f72-2623deb0c047"/>
  </ds:schemaRefs>
</ds:datastoreItem>
</file>

<file path=customXml/itemProps2.xml><?xml version="1.0" encoding="utf-8"?>
<ds:datastoreItem xmlns:ds="http://schemas.openxmlformats.org/officeDocument/2006/customXml" ds:itemID="{EFAA74BF-4E94-4EEA-8358-953389CCF68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31F6566-C4C6-47C6-8A10-BBB8BB9BEB6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a1bbd72-f46e-43f3-8f72-2623deb0c047"/>
    <ds:schemaRef ds:uri="10c4dcad-8d39-4939-b489-2456ead7119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heme1</Template>
  <TotalTime>10109</TotalTime>
  <Words>757</Words>
  <Application>Microsoft Office PowerPoint</Application>
  <PresentationFormat>Widescreen</PresentationFormat>
  <Paragraphs>176</Paragraphs>
  <Slides>46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6</vt:i4>
      </vt:variant>
    </vt:vector>
  </HeadingPairs>
  <TitlesOfParts>
    <vt:vector size="55" baseType="lpstr">
      <vt:lpstr>Arial</vt:lpstr>
      <vt:lpstr>Calibri</vt:lpstr>
      <vt:lpstr>Courier New</vt:lpstr>
      <vt:lpstr>Franklin Gothic Book</vt:lpstr>
      <vt:lpstr>Franklin Gothic Medium</vt:lpstr>
      <vt:lpstr>Trebuchet MS</vt:lpstr>
      <vt:lpstr>Wingdings</vt:lpstr>
      <vt:lpstr>*FIND template*</vt:lpstr>
      <vt:lpstr>think-cell Slide</vt:lpstr>
      <vt:lpstr>BLIMS training PP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ASHBOARD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pecimen registration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>Genpact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Tiwari, Pradeep</dc:creator>
  <cp:keywords/>
  <dc:description/>
  <cp:lastModifiedBy>Rahul Singh</cp:lastModifiedBy>
  <cp:revision>1247</cp:revision>
  <cp:lastPrinted>2020-10-12T07:52:37Z</cp:lastPrinted>
  <dcterms:created xsi:type="dcterms:W3CDTF">2020-02-13T09:04:23Z</dcterms:created>
  <dcterms:modified xsi:type="dcterms:W3CDTF">2023-12-15T07:43:52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6E9EF62B87021448D745F43C4B11C16</vt:lpwstr>
  </property>
</Properties>
</file>